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524" r:id="rId2"/>
    <p:sldId id="646" r:id="rId3"/>
    <p:sldId id="647" r:id="rId4"/>
    <p:sldId id="648" r:id="rId5"/>
    <p:sldId id="650" r:id="rId6"/>
    <p:sldId id="649" r:id="rId7"/>
    <p:sldId id="651" r:id="rId8"/>
    <p:sldId id="652" r:id="rId9"/>
    <p:sldId id="653" r:id="rId10"/>
    <p:sldId id="657" r:id="rId11"/>
    <p:sldId id="656" r:id="rId12"/>
    <p:sldId id="654" r:id="rId13"/>
    <p:sldId id="655" r:id="rId14"/>
    <p:sldId id="602" r:id="rId15"/>
  </p:sldIdLst>
  <p:sldSz cx="9144000" cy="5143500" type="screen16x9"/>
  <p:notesSz cx="6858000" cy="91440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348389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696777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1045165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1393554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1741943" algn="l" defTabSz="696777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6pPr>
    <a:lvl7pPr marL="2090332" algn="l" defTabSz="696777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7pPr>
    <a:lvl8pPr marL="2438721" algn="l" defTabSz="696777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8pPr>
    <a:lvl9pPr marL="2787109" algn="l" defTabSz="696777" rtl="0" eaLnBrk="1" latinLnBrk="0" hangingPunct="1">
      <a:defRPr kern="1200">
        <a:solidFill>
          <a:schemeClr val="tx1"/>
        </a:solidFill>
        <a:latin typeface="Trebuchet M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5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ielle Claude" initials="DC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CA"/>
    <a:srgbClr val="CF0072"/>
    <a:srgbClr val="D30547"/>
    <a:srgbClr val="00B2AA"/>
    <a:srgbClr val="E1E1E1"/>
    <a:srgbClr val="C6C6C6"/>
    <a:srgbClr val="ABABAB"/>
    <a:srgbClr val="919191"/>
    <a:srgbClr val="787878"/>
    <a:srgbClr val="5D5D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89" autoAdjust="0"/>
    <p:restoredTop sz="94674" autoAdjust="0"/>
  </p:normalViewPr>
  <p:slideViewPr>
    <p:cSldViewPr snapToGrid="0">
      <p:cViewPr varScale="1">
        <p:scale>
          <a:sx n="114" d="100"/>
          <a:sy n="114" d="100"/>
        </p:scale>
        <p:origin x="114" y="150"/>
      </p:cViewPr>
      <p:guideLst>
        <p:guide orient="horz" pos="2845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40" y="96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90038517720617"/>
          <c:y val="5.9945478364488249E-2"/>
          <c:w val="0.67088503166218139"/>
          <c:h val="0.8072480391134591"/>
        </c:manualLayout>
      </c:layout>
      <c:barChart>
        <c:barDir val="col"/>
        <c:grouping val="stacked"/>
        <c:varyColors val="0"/>
        <c:ser>
          <c:idx val="0"/>
          <c:order val="0"/>
          <c:tx>
            <c:v>100 Mbps</c:v>
          </c:tx>
          <c:spPr>
            <a:solidFill>
              <a:srgbClr val="6639B7"/>
            </a:solidFill>
            <a:ln>
              <a:noFill/>
            </a:ln>
          </c:spPr>
          <c:invertIfNegative val="0"/>
          <c:cat>
            <c:numLit>
              <c:formatCode>General</c:formatCode>
              <c:ptCount val="7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</c:numLit>
          </c:cat>
          <c:val>
            <c:numLit>
              <c:formatCode>General</c:formatCode>
              <c:ptCount val="7"/>
              <c:pt idx="0">
                <c:v>72902925</c:v>
              </c:pt>
              <c:pt idx="1">
                <c:v>55350490.590000011</c:v>
              </c:pt>
              <c:pt idx="2">
                <c:v>51563139.312086172</c:v>
              </c:pt>
              <c:pt idx="3">
                <c:v>47434747.609685749</c:v>
              </c:pt>
              <c:pt idx="4">
                <c:v>42958654.879306026</c:v>
              </c:pt>
              <c:pt idx="5">
                <c:v>38164831.123074912</c:v>
              </c:pt>
              <c:pt idx="6">
                <c:v>32979828.293115612</c:v>
              </c:pt>
            </c:numLit>
          </c:val>
          <c:extLst>
            <c:ext xmlns:c16="http://schemas.microsoft.com/office/drawing/2014/chart" uri="{C3380CC4-5D6E-409C-BE32-E72D297353CC}">
              <c16:uniqueId val="{00000000-7682-4A97-8345-B65262E44EF3}"/>
            </c:ext>
          </c:extLst>
        </c:ser>
        <c:ser>
          <c:idx val="1"/>
          <c:order val="1"/>
          <c:tx>
            <c:v>1000 Mbps</c:v>
          </c:tx>
          <c:spPr>
            <a:solidFill>
              <a:srgbClr val="C2C2C2"/>
            </a:solidFill>
            <a:ln>
              <a:noFill/>
            </a:ln>
          </c:spPr>
          <c:invertIfNegative val="0"/>
          <c:cat>
            <c:numLit>
              <c:formatCode>General</c:formatCode>
              <c:ptCount val="7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</c:numLit>
          </c:cat>
          <c:val>
            <c:numLit>
              <c:formatCode>General</c:formatCode>
              <c:ptCount val="7"/>
              <c:pt idx="0">
                <c:v>205090420</c:v>
              </c:pt>
              <c:pt idx="1">
                <c:v>234101911.14646399</c:v>
              </c:pt>
              <c:pt idx="2">
                <c:v>249806737.57018322</c:v>
              </c:pt>
              <c:pt idx="3">
                <c:v>252684281.65191361</c:v>
              </c:pt>
              <c:pt idx="4">
                <c:v>243796433.07700408</c:v>
              </c:pt>
              <c:pt idx="5">
                <c:v>218528677.69658238</c:v>
              </c:pt>
              <c:pt idx="6">
                <c:v>188169525.15712598</c:v>
              </c:pt>
            </c:numLit>
          </c:val>
          <c:extLst>
            <c:ext xmlns:c16="http://schemas.microsoft.com/office/drawing/2014/chart" uri="{C3380CC4-5D6E-409C-BE32-E72D297353CC}">
              <c16:uniqueId val="{00000001-7682-4A97-8345-B65262E44EF3}"/>
            </c:ext>
          </c:extLst>
        </c:ser>
        <c:ser>
          <c:idx val="2"/>
          <c:order val="2"/>
          <c:tx>
            <c:v>2.5/5G </c:v>
          </c:tx>
          <c:spPr>
            <a:solidFill>
              <a:srgbClr val="3DB7E4"/>
            </a:solidFill>
            <a:ln>
              <a:noFill/>
            </a:ln>
          </c:spPr>
          <c:invertIfNegative val="0"/>
          <c:cat>
            <c:numLit>
              <c:formatCode>General</c:formatCode>
              <c:ptCount val="7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</c:numLit>
          </c:cat>
          <c:val>
            <c:numLit>
              <c:formatCode>General</c:formatCode>
              <c:ptCount val="7"/>
              <c:pt idx="0">
                <c:v>0</c:v>
              </c:pt>
              <c:pt idx="1">
                <c:v>40000</c:v>
              </c:pt>
              <c:pt idx="2">
                <c:v>4000000</c:v>
              </c:pt>
              <c:pt idx="3">
                <c:v>9240000</c:v>
              </c:pt>
              <c:pt idx="4">
                <c:v>20296000</c:v>
              </c:pt>
              <c:pt idx="5">
                <c:v>40247000</c:v>
              </c:pt>
              <c:pt idx="6">
                <c:v>62988000</c:v>
              </c:pt>
            </c:numLit>
          </c:val>
          <c:extLst>
            <c:ext xmlns:c16="http://schemas.microsoft.com/office/drawing/2014/chart" uri="{C3380CC4-5D6E-409C-BE32-E72D297353CC}">
              <c16:uniqueId val="{00000002-7682-4A97-8345-B65262E44EF3}"/>
            </c:ext>
          </c:extLst>
        </c:ser>
        <c:ser>
          <c:idx val="3"/>
          <c:order val="3"/>
          <c:tx>
            <c:v>10G </c:v>
          </c:tx>
          <c:spPr>
            <a:solidFill>
              <a:srgbClr val="34B233"/>
            </a:solidFill>
            <a:ln>
              <a:noFill/>
            </a:ln>
          </c:spPr>
          <c:invertIfNegative val="0"/>
          <c:cat>
            <c:numLit>
              <c:formatCode>General</c:formatCode>
              <c:ptCount val="7"/>
              <c:pt idx="0">
                <c:v>2014</c:v>
              </c:pt>
              <c:pt idx="1">
                <c:v>2015</c:v>
              </c:pt>
              <c:pt idx="2">
                <c:v>2016</c:v>
              </c:pt>
              <c:pt idx="3">
                <c:v>2017</c:v>
              </c:pt>
              <c:pt idx="4">
                <c:v>2018</c:v>
              </c:pt>
              <c:pt idx="5">
                <c:v>2019</c:v>
              </c:pt>
              <c:pt idx="6">
                <c:v>2020</c:v>
              </c:pt>
            </c:numLit>
          </c:cat>
          <c:val>
            <c:numLit>
              <c:formatCode>General</c:formatCode>
              <c:ptCount val="7"/>
              <c:pt idx="0">
                <c:v>22121854.5</c:v>
              </c:pt>
              <c:pt idx="1">
                <c:v>26520619.967999976</c:v>
              </c:pt>
              <c:pt idx="2">
                <c:v>29471607.573348396</c:v>
              </c:pt>
              <c:pt idx="3">
                <c:v>30013397.369630396</c:v>
              </c:pt>
              <c:pt idx="4">
                <c:v>27742233.175410777</c:v>
              </c:pt>
              <c:pt idx="5">
                <c:v>25210000.025155805</c:v>
              </c:pt>
              <c:pt idx="6">
                <c:v>19569112.003605612</c:v>
              </c:pt>
            </c:numLit>
          </c:val>
          <c:extLst>
            <c:ext xmlns:c16="http://schemas.microsoft.com/office/drawing/2014/chart" uri="{C3380CC4-5D6E-409C-BE32-E72D297353CC}">
              <c16:uniqueId val="{00000003-7682-4A97-8345-B65262E44E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441472"/>
        <c:axId val="96427008"/>
      </c:barChart>
      <c:valAx>
        <c:axId val="96427008"/>
        <c:scaling>
          <c:orientation val="minMax"/>
        </c:scaling>
        <c:delete val="0"/>
        <c:axPos val="l"/>
        <c:majorGridlines>
          <c:spPr>
            <a:ln w="9528">
              <a:solidFill>
                <a:srgbClr val="7C7C7C"/>
              </a:solidFill>
              <a:prstDash val="solid"/>
              <a:round/>
            </a:ln>
          </c:spPr>
        </c:majorGridlines>
        <c:numFmt formatCode="#,##0.0," sourceLinked="0"/>
        <c:majorTickMark val="out"/>
        <c:minorTickMark val="none"/>
        <c:tickLblPos val="nextTo"/>
        <c:spPr>
          <a:noFill/>
          <a:ln w="9528">
            <a:solidFill>
              <a:srgbClr val="7C7C7C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0" i="0" u="none" strike="noStrike" kern="1200" baseline="0">
                <a:solidFill>
                  <a:srgbClr val="000000"/>
                </a:solidFill>
                <a:latin typeface="Trebuchet MS"/>
              </a:defRPr>
            </a:pPr>
            <a:endParaRPr lang="es-ES"/>
          </a:p>
        </c:txPr>
        <c:crossAx val="96441472"/>
        <c:crosses val="autoZero"/>
        <c:crossBetween val="between"/>
      </c:valAx>
      <c:catAx>
        <c:axId val="964414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8">
            <a:solidFill>
              <a:srgbClr val="7C7C7C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0" i="0" u="none" strike="noStrike" kern="1200" baseline="0">
                <a:solidFill>
                  <a:srgbClr val="000000"/>
                </a:solidFill>
                <a:latin typeface="Trebuchet MS"/>
              </a:defRPr>
            </a:pPr>
            <a:endParaRPr lang="es-ES"/>
          </a:p>
        </c:txPr>
        <c:crossAx val="96427008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0.8325464044933063"/>
          <c:y val="0.30933111230401328"/>
          <c:w val="0.16227960373741462"/>
          <c:h val="0.38133734629048199"/>
        </c:manualLayout>
      </c:layout>
      <c:overlay val="0"/>
      <c:spPr>
        <a:noFill/>
        <a:ln>
          <a:noFill/>
        </a:ln>
      </c:spPr>
      <c:txPr>
        <a:bodyPr lIns="0" tIns="0" rIns="0" bIns="0"/>
        <a:lstStyle/>
        <a:p>
          <a:pPr marL="0" marR="0" indent="0" defTabSz="914400" fontAlgn="auto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tabLst/>
            <a:defRPr sz="1000" b="0" i="0" u="none" strike="noStrike" kern="1200" baseline="0">
              <a:solidFill>
                <a:srgbClr val="000000"/>
              </a:solidFill>
              <a:latin typeface="Trebuchet M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algn="ctr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000" b="0" i="0" u="none" strike="noStrike" kern="1200" baseline="0">
          <a:solidFill>
            <a:srgbClr val="000000"/>
          </a:solidFill>
          <a:latin typeface="Trebuchet MS"/>
        </a:defRPr>
      </a:pPr>
      <a:endParaRPr lang="es-E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 txBox="1">
            <a:spLocks/>
          </p:cNvSpPr>
          <p:nvPr/>
        </p:nvSpPr>
        <p:spPr>
          <a:xfrm>
            <a:off x="3175000" y="8660041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600" dirty="0">
              <a:solidFill>
                <a:schemeClr val="tx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53609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40005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7200" y="3971925"/>
            <a:ext cx="5943600" cy="4648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2"/>
          <p:cNvSpPr txBox="1">
            <a:spLocks/>
          </p:cNvSpPr>
          <p:nvPr/>
        </p:nvSpPr>
        <p:spPr>
          <a:xfrm>
            <a:off x="3165476" y="8677637"/>
            <a:ext cx="484187" cy="239712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tx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600" dirty="0">
              <a:solidFill>
                <a:schemeClr val="tx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17138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87097" indent="-87097" algn="l" rtl="0" fontAlgn="base">
      <a:spcBef>
        <a:spcPct val="30000"/>
      </a:spcBef>
      <a:spcAft>
        <a:spcPct val="0"/>
      </a:spcAft>
      <a:buClr>
        <a:srgbClr val="404040"/>
      </a:buClr>
      <a:buFont typeface="Trebuchet MS" pitchFamily="34" charset="0"/>
      <a:buChar char="•"/>
      <a:defRPr sz="8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1pPr>
    <a:lvl2pPr marL="174194" indent="-87097" algn="l" rtl="0" fontAlgn="base">
      <a:spcBef>
        <a:spcPts val="0"/>
      </a:spcBef>
      <a:spcAft>
        <a:spcPct val="0"/>
      </a:spcAft>
      <a:buClr>
        <a:srgbClr val="404040"/>
      </a:buClr>
      <a:buFont typeface="Trebuchet MS"/>
      <a:buChar char="‒"/>
      <a:defRPr sz="8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2pPr>
    <a:lvl3pPr marL="261291" indent="-87097" algn="l" rtl="0" fontAlgn="base">
      <a:spcBef>
        <a:spcPts val="0"/>
      </a:spcBef>
      <a:spcAft>
        <a:spcPct val="0"/>
      </a:spcAft>
      <a:buClr>
        <a:srgbClr val="404040"/>
      </a:buClr>
      <a:buFont typeface="Trebuchet MS"/>
      <a:buChar char="–"/>
      <a:defRPr sz="8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3pPr>
    <a:lvl4pPr marL="348389" indent="-87097" algn="l" rtl="0" fontAlgn="base">
      <a:spcBef>
        <a:spcPts val="0"/>
      </a:spcBef>
      <a:spcAft>
        <a:spcPct val="0"/>
      </a:spcAft>
      <a:buClr>
        <a:srgbClr val="404040"/>
      </a:buClr>
      <a:buFont typeface="Trebuchet MS"/>
      <a:buChar char="–"/>
      <a:defRPr sz="7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4pPr>
    <a:lvl5pPr marL="435485" indent="-87097" algn="l" rtl="0" fontAlgn="base">
      <a:spcBef>
        <a:spcPts val="0"/>
      </a:spcBef>
      <a:spcAft>
        <a:spcPct val="0"/>
      </a:spcAft>
      <a:buClr>
        <a:srgbClr val="404040"/>
      </a:buClr>
      <a:buFont typeface="Trebuchet MS"/>
      <a:buChar char="–"/>
      <a:defRPr sz="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5pPr>
    <a:lvl6pPr marL="1741943" algn="l" defTabSz="696777" rtl="0" eaLnBrk="1" latinLnBrk="0" hangingPunct="1">
      <a:defRPr sz="900" kern="1200">
        <a:solidFill>
          <a:schemeClr val="tx1"/>
        </a:solidFill>
        <a:latin typeface="Trebuchet MS"/>
        <a:ea typeface="+mn-ea"/>
        <a:cs typeface="+mn-cs"/>
      </a:defRPr>
    </a:lvl6pPr>
    <a:lvl7pPr marL="2090332" algn="l" defTabSz="696777" rtl="0" eaLnBrk="1" latinLnBrk="0" hangingPunct="1">
      <a:defRPr sz="900" kern="1200">
        <a:solidFill>
          <a:schemeClr val="tx1"/>
        </a:solidFill>
        <a:latin typeface="Trebuchet MS"/>
        <a:ea typeface="+mn-ea"/>
        <a:cs typeface="+mn-cs"/>
      </a:defRPr>
    </a:lvl7pPr>
    <a:lvl8pPr marL="2438721" algn="l" defTabSz="696777" rtl="0" eaLnBrk="1" latinLnBrk="0" hangingPunct="1">
      <a:defRPr sz="900" kern="1200">
        <a:solidFill>
          <a:schemeClr val="tx1"/>
        </a:solidFill>
        <a:latin typeface="Trebuchet MS"/>
        <a:ea typeface="+mn-ea"/>
        <a:cs typeface="+mn-cs"/>
      </a:defRPr>
    </a:lvl8pPr>
    <a:lvl9pPr marL="2787109" algn="l" defTabSz="696777" rtl="0" eaLnBrk="1" latinLnBrk="0" hangingPunct="1">
      <a:defRPr sz="900" kern="1200">
        <a:solidFill>
          <a:schemeClr val="tx1"/>
        </a:solidFill>
        <a:latin typeface="Trebuchet MS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711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en-US"/>
              <a:t>Custom built switches for supporting WLAN APs</a:t>
            </a:r>
          </a:p>
        </p:txBody>
      </p:sp>
    </p:spTree>
    <p:extLst>
      <p:ext uri="{BB962C8B-B14F-4D97-AF65-F5344CB8AC3E}">
        <p14:creationId xmlns:p14="http://schemas.microsoft.com/office/powerpoint/2010/main" val="1649188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 typeface="Trebuchet MS" charset="0"/>
              <a:buNone/>
            </a:pPr>
            <a:r>
              <a:rPr lang="en-US" dirty="0">
                <a:latin typeface="Trebuchet MS" charset="0"/>
              </a:rPr>
              <a:t> </a:t>
            </a:r>
          </a:p>
        </p:txBody>
      </p:sp>
      <p:sp>
        <p:nvSpPr>
          <p:cNvPr id="22531" name="Slide Image Placeholder 4"/>
          <p:cNvSpPr>
            <a:spLocks noGrp="1" noRot="1" noChangeAspec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4292853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0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Main Title Dark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175"/>
            <a:ext cx="9143998" cy="5151437"/>
          </a:xfrm>
          <a:prstGeom prst="rect">
            <a:avLst/>
          </a:prstGeom>
        </p:spPr>
      </p:pic>
      <p:sp>
        <p:nvSpPr>
          <p:cNvPr id="15" name="Rectangle 14"/>
          <p:cNvSpPr/>
          <p:nvPr userDrawn="1">
            <p:custDataLst>
              <p:tags r:id="rId1"/>
            </p:custDataLst>
          </p:nvPr>
        </p:nvSpPr>
        <p:spPr>
          <a:xfrm>
            <a:off x="-5208" y="-3175"/>
            <a:ext cx="9143997" cy="5140325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175"/>
            <a:ext cx="4319588" cy="4101863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6791" y="1020697"/>
            <a:ext cx="4335909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1999" y="1841896"/>
            <a:ext cx="4330700" cy="463154"/>
          </a:xfrm>
        </p:spPr>
        <p:txBody>
          <a:bodyPr lIns="69677" tIns="34839" rIns="69677" bIns="34839"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8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 userDrawn="1"/>
        </p:nvSpPr>
        <p:spPr>
          <a:xfrm>
            <a:off x="4325491" y="1015306"/>
            <a:ext cx="79200" cy="815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00" y="1134708"/>
            <a:ext cx="2326255" cy="57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890147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Title Clear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5143500"/>
          </a:xfrm>
        </p:spPr>
        <p:txBody>
          <a:bodyPr/>
          <a:lstStyle/>
          <a:p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4327737" y="3177"/>
            <a:ext cx="4816263" cy="514349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13" name="Straight Connector 112"/>
          <p:cNvCxnSpPr/>
          <p:nvPr userDrawn="1"/>
        </p:nvCxnSpPr>
        <p:spPr>
          <a:xfrm flipV="1">
            <a:off x="4406565" y="0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327737" y="1020697"/>
            <a:ext cx="78828" cy="8011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0" y="1020697"/>
            <a:ext cx="4330700" cy="804859"/>
          </a:xfrm>
        </p:spPr>
        <p:txBody>
          <a:bodyPr anchor="b"/>
          <a:lstStyle>
            <a:lvl1pPr>
              <a:defRPr sz="2800" b="1" cap="none">
                <a:solidFill>
                  <a:schemeClr val="accent3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68704" y="1841896"/>
            <a:ext cx="4314945" cy="463154"/>
          </a:xfrm>
        </p:spPr>
        <p:txBody>
          <a:bodyPr lIns="69677" tIns="34839" rIns="69677" bIns="34839"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0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90863" y="4704175"/>
            <a:ext cx="1075822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0315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9144000" cy="5143500"/>
          </a:xfrm>
          <a:prstGeom prst="rect">
            <a:avLst/>
          </a:prstGeom>
        </p:spPr>
      </p:pic>
      <p:sp>
        <p:nvSpPr>
          <p:cNvPr id="20" name="Rectangle 19"/>
          <p:cNvSpPr/>
          <p:nvPr userDrawn="1">
            <p:custDataLst>
              <p:tags r:id="rId1"/>
            </p:custDataLst>
          </p:nvPr>
        </p:nvSpPr>
        <p:spPr>
          <a:xfrm>
            <a:off x="4327737" y="3177"/>
            <a:ext cx="4816263" cy="5143499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21" name="Straight Connector 112"/>
          <p:cNvCxnSpPr/>
          <p:nvPr userDrawn="1"/>
        </p:nvCxnSpPr>
        <p:spPr>
          <a:xfrm flipV="1">
            <a:off x="4406565" y="0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327737" y="1101871"/>
            <a:ext cx="78828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0" y="1020697"/>
            <a:ext cx="4330700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1841896"/>
            <a:ext cx="4311650" cy="463154"/>
          </a:xfrm>
        </p:spPr>
        <p:txBody>
          <a:bodyPr lIns="69677" tIns="34839" rIns="69677" bIns="34839"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6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7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34853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Title Clear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0" y="7145"/>
            <a:ext cx="9118600" cy="5129212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4327737" y="3177"/>
            <a:ext cx="4816263" cy="5153024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19" name="Straight Connector 112"/>
          <p:cNvCxnSpPr/>
          <p:nvPr userDrawn="1"/>
        </p:nvCxnSpPr>
        <p:spPr>
          <a:xfrm flipV="1">
            <a:off x="4406565" y="0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327737" y="1101871"/>
            <a:ext cx="78828" cy="7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0" y="1020697"/>
            <a:ext cx="4330700" cy="804859"/>
          </a:xfrm>
        </p:spPr>
        <p:txBody>
          <a:bodyPr anchor="b"/>
          <a:lstStyle>
            <a:lvl1pPr>
              <a:defRPr sz="2800" b="1" cap="none">
                <a:solidFill>
                  <a:schemeClr val="accent3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1841896"/>
            <a:ext cx="4311650" cy="463154"/>
          </a:xfrm>
        </p:spPr>
        <p:txBody>
          <a:bodyPr lIns="69677" tIns="34839" rIns="69677" bIns="34839"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6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  <p:sp>
        <p:nvSpPr>
          <p:cNvPr id="27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8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254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Title Dark Blue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327737" y="3177"/>
            <a:ext cx="4816263" cy="5143499"/>
          </a:xfrm>
          <a:prstGeom prst="rect">
            <a:avLst/>
          </a:prstGeom>
          <a:solidFill>
            <a:srgbClr val="000000">
              <a:alpha val="20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13" name="Straight Connector 112"/>
          <p:cNvCxnSpPr/>
          <p:nvPr userDrawn="1"/>
        </p:nvCxnSpPr>
        <p:spPr>
          <a:xfrm flipV="1">
            <a:off x="4406565" y="0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327737" y="1020697"/>
            <a:ext cx="78828" cy="8011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28545" y="1020697"/>
            <a:ext cx="4374155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25408" y="1841896"/>
            <a:ext cx="4358242" cy="463154"/>
          </a:xfrm>
        </p:spPr>
        <p:txBody>
          <a:bodyPr lIns="69677" tIns="34839" rIns="69677" bIns="34839"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1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08309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4184" y="1105318"/>
            <a:ext cx="8686068" cy="3310711"/>
          </a:xfrm>
        </p:spPr>
        <p:txBody>
          <a:bodyPr/>
          <a:lstStyle>
            <a:lvl1pPr algn="l">
              <a:buClr>
                <a:schemeClr val="accent4"/>
              </a:buCl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algn="l"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algn="l"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algn="l"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algn="l"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6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4184" y="1130300"/>
            <a:ext cx="8686068" cy="3285730"/>
          </a:xfrm>
        </p:spPr>
        <p:txBody>
          <a:bodyPr/>
          <a:lstStyle>
            <a:lvl1pPr>
              <a:buClrTx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7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8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404053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ALE_Title and two columns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71" y="170260"/>
            <a:ext cx="8702735" cy="79295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4184" y="1130300"/>
            <a:ext cx="4283808" cy="3285730"/>
          </a:xfrm>
        </p:spPr>
        <p:txBody>
          <a:bodyPr/>
          <a:lstStyle>
            <a:lvl1pPr>
              <a:buClrTx/>
              <a:defRPr sz="1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spcAft>
                <a:spcPts val="0"/>
              </a:spcAft>
              <a:buClrTx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spcAft>
                <a:spcPts val="0"/>
              </a:spcAft>
              <a:buClrTx/>
              <a:defRPr sz="12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spcAft>
                <a:spcPts val="0"/>
              </a:spcAft>
              <a:buClrTx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spcAft>
                <a:spcPts val="0"/>
              </a:spcAft>
              <a:buClrTx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3982" y="1130300"/>
            <a:ext cx="4285029" cy="3285730"/>
          </a:xfrm>
        </p:spPr>
        <p:txBody>
          <a:bodyPr/>
          <a:lstStyle>
            <a:lvl1pPr>
              <a:buClrTx/>
              <a:defRPr sz="1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>
              <a:spcAft>
                <a:spcPts val="0"/>
              </a:spcAft>
              <a:buClrTx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>
              <a:spcAft>
                <a:spcPts val="0"/>
              </a:spcAft>
              <a:buClrTx/>
              <a:defRPr sz="12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>
              <a:spcAft>
                <a:spcPts val="0"/>
              </a:spcAft>
              <a:buClrTx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>
              <a:spcAft>
                <a:spcPts val="0"/>
              </a:spcAft>
              <a:buClrTx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6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0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693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E_Title and two columns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71" y="170260"/>
            <a:ext cx="8702735" cy="79295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4136" y="1939332"/>
            <a:ext cx="2736000" cy="2476698"/>
          </a:xfrm>
        </p:spPr>
        <p:txBody>
          <a:bodyPr/>
          <a:lstStyle>
            <a:lvl1pPr marL="0" indent="0">
              <a:buNone/>
              <a:defRPr sz="1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180975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06400" indent="0"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546100" indent="0"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631825" indent="0"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05418" y="1939332"/>
            <a:ext cx="2736000" cy="2476698"/>
          </a:xfrm>
        </p:spPr>
        <p:txBody>
          <a:bodyPr/>
          <a:lstStyle>
            <a:lvl1pPr marL="0" indent="0">
              <a:buNone/>
              <a:defRPr sz="1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180975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06400" indent="0"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546100" indent="0"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631825" indent="0"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6158316" y="1939332"/>
            <a:ext cx="2736000" cy="2476698"/>
          </a:xfrm>
        </p:spPr>
        <p:txBody>
          <a:bodyPr/>
          <a:lstStyle>
            <a:lvl1pPr marL="0" indent="0">
              <a:buNone/>
              <a:defRPr sz="15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180975" indent="0"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06400" indent="0"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546100" indent="0"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631825" indent="0">
              <a:spcAft>
                <a:spcPts val="0"/>
              </a:spcAft>
              <a:buNone/>
              <a:defRPr sz="11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1"/>
          </p:nvPr>
        </p:nvSpPr>
        <p:spPr>
          <a:xfrm>
            <a:off x="212472" y="1130301"/>
            <a:ext cx="2736000" cy="68845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3"/>
                </a:solidFill>
                <a:latin typeface="Trebuchet MS" panose="020B0603020202020204" pitchFamily="34" charset="0"/>
              </a:defRPr>
            </a:lvl1pPr>
            <a:lvl2pPr marL="180975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3"/>
                </a:solidFill>
                <a:latin typeface="Trebuchet MS" panose="020B0603020202020204" pitchFamily="34" charset="0"/>
              </a:defRPr>
            </a:lvl2pPr>
            <a:lvl3pPr marL="40640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3"/>
                </a:solidFill>
                <a:latin typeface="Trebuchet MS" panose="020B0603020202020204" pitchFamily="34" charset="0"/>
              </a:defRPr>
            </a:lvl3pPr>
            <a:lvl4pPr marL="54610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accent3"/>
                </a:solidFill>
                <a:latin typeface="Trebuchet MS" panose="020B0603020202020204" pitchFamily="34" charset="0"/>
              </a:defRPr>
            </a:lvl4pPr>
            <a:lvl5pPr marL="631825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accent3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2"/>
          </p:nvPr>
        </p:nvSpPr>
        <p:spPr>
          <a:xfrm>
            <a:off x="3203754" y="1130301"/>
            <a:ext cx="2736000" cy="68845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3"/>
                </a:solidFill>
                <a:latin typeface="Trebuchet MS" panose="020B0603020202020204" pitchFamily="34" charset="0"/>
              </a:defRPr>
            </a:lvl1pPr>
            <a:lvl2pPr marL="180975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3"/>
                </a:solidFill>
                <a:latin typeface="Trebuchet MS" panose="020B0603020202020204" pitchFamily="34" charset="0"/>
              </a:defRPr>
            </a:lvl2pPr>
            <a:lvl3pPr marL="40640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3"/>
                </a:solidFill>
                <a:latin typeface="Trebuchet MS" panose="020B0603020202020204" pitchFamily="34" charset="0"/>
              </a:defRPr>
            </a:lvl3pPr>
            <a:lvl4pPr marL="54610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accent3"/>
                </a:solidFill>
                <a:latin typeface="Trebuchet MS" panose="020B0603020202020204" pitchFamily="34" charset="0"/>
              </a:defRPr>
            </a:lvl4pPr>
            <a:lvl5pPr marL="631825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accent3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6156652" y="1130301"/>
            <a:ext cx="2736000" cy="68845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accent3"/>
                </a:solidFill>
                <a:latin typeface="Trebuchet MS" panose="020B0603020202020204" pitchFamily="34" charset="0"/>
              </a:defRPr>
            </a:lvl1pPr>
            <a:lvl2pPr marL="180975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3"/>
                </a:solidFill>
                <a:latin typeface="Trebuchet MS" panose="020B0603020202020204" pitchFamily="34" charset="0"/>
              </a:defRPr>
            </a:lvl2pPr>
            <a:lvl3pPr marL="40640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accent3"/>
                </a:solidFill>
                <a:latin typeface="Trebuchet MS" panose="020B0603020202020204" pitchFamily="34" charset="0"/>
              </a:defRPr>
            </a:lvl3pPr>
            <a:lvl4pPr marL="54610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accent3"/>
                </a:solidFill>
                <a:latin typeface="Trebuchet MS" panose="020B0603020202020204" pitchFamily="34" charset="0"/>
              </a:defRPr>
            </a:lvl4pPr>
            <a:lvl5pPr marL="631825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accent3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7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9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811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ALE_Title and two column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794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6371" y="170260"/>
            <a:ext cx="8702735" cy="79295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4184" y="1130300"/>
            <a:ext cx="4283808" cy="3285730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spcAft>
                <a:spcPts val="0"/>
              </a:spcAft>
              <a:defRPr sz="1400"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spcAft>
                <a:spcPts val="0"/>
              </a:spcAft>
              <a:defRPr sz="1200"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3982" y="1130300"/>
            <a:ext cx="4285029" cy="3285730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  <a:lvl2pPr>
              <a:spcAft>
                <a:spcPts val="0"/>
              </a:spcAft>
              <a:defRPr sz="1400">
                <a:solidFill>
                  <a:schemeClr val="bg1"/>
                </a:solidFill>
                <a:latin typeface="Trebuchet MS" panose="020B0603020202020204" pitchFamily="34" charset="0"/>
              </a:defRPr>
            </a:lvl2pPr>
            <a:lvl3pPr>
              <a:spcAft>
                <a:spcPts val="0"/>
              </a:spcAft>
              <a:defRPr sz="1200">
                <a:solidFill>
                  <a:schemeClr val="bg1"/>
                </a:solidFill>
                <a:latin typeface="Trebuchet MS" panose="020B0603020202020204" pitchFamily="34" charset="0"/>
              </a:defRPr>
            </a:lvl3pPr>
            <a:lvl4pPr>
              <a:spcAft>
                <a:spcPts val="0"/>
              </a:spcAft>
              <a:defRPr sz="1100">
                <a:solidFill>
                  <a:schemeClr val="bg1"/>
                </a:solidFill>
                <a:latin typeface="Trebuchet MS" panose="020B0603020202020204" pitchFamily="34" charset="0"/>
              </a:defRPr>
            </a:lvl4pPr>
            <a:lvl5pPr>
              <a:spcAft>
                <a:spcPts val="0"/>
              </a:spcAft>
              <a:defRPr sz="1100">
                <a:solidFill>
                  <a:schemeClr val="bg1"/>
                </a:solidFill>
                <a:latin typeface="Trebuchet MS" panose="020B0603020202020204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9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899" y="170260"/>
            <a:ext cx="8693207" cy="792956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6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8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8" name="Rectangle 17"/>
          <p:cNvSpPr/>
          <p:nvPr userDrawn="1">
            <p:custDataLst>
              <p:tags r:id="rId1"/>
            </p:custDataLst>
          </p:nvPr>
        </p:nvSpPr>
        <p:spPr>
          <a:xfrm>
            <a:off x="0" y="3175"/>
            <a:ext cx="9143999" cy="5143500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175"/>
            <a:ext cx="4319588" cy="4101863"/>
          </a:xfrm>
          <a:prstGeom prst="rect">
            <a:avLst/>
          </a:prstGeom>
        </p:spPr>
      </p:pic>
      <p:sp>
        <p:nvSpPr>
          <p:cNvPr id="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5900" y="1548816"/>
            <a:ext cx="8677275" cy="804859"/>
          </a:xfrm>
        </p:spPr>
        <p:txBody>
          <a:bodyPr anchor="b"/>
          <a:lstStyle>
            <a:lvl1pPr algn="ctr"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8307" y="2621679"/>
            <a:ext cx="8674868" cy="46315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 algn="ctr">
              <a:defRPr lang="en-US" dirty="0">
                <a:solidFill>
                  <a:schemeClr val="bg1"/>
                </a:solidFill>
                <a:ea typeface="Trebuchet MS" panose="020B0603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</a:pPr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12"/>
          <p:cNvCxnSpPr/>
          <p:nvPr userDrawn="1"/>
        </p:nvCxnSpPr>
        <p:spPr>
          <a:xfrm>
            <a:off x="302877" y="2467975"/>
            <a:ext cx="8590298" cy="1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8753" y="3508190"/>
            <a:ext cx="2326255" cy="57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99048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E_Footer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7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9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E_Pictur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None/>
              <a:defRPr>
                <a:ea typeface="Trebuchet MS" panose="020B0604020202020204" pitchFamily="34" charset="-128"/>
              </a:defRPr>
            </a:lvl1pPr>
          </a:lstStyle>
          <a:p>
            <a:r>
              <a:rPr lang="en-US" altLang="fr-FR" dirty="0"/>
              <a:t>Picture</a:t>
            </a:r>
          </a:p>
          <a:p>
            <a:endParaRPr lang="fr-FR" altLang="en-US" dirty="0"/>
          </a:p>
        </p:txBody>
      </p:sp>
      <p:sp>
        <p:nvSpPr>
          <p:cNvPr id="11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2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5899" y="170260"/>
            <a:ext cx="8693207" cy="792956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4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408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E_Picture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2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5899" y="170260"/>
            <a:ext cx="8693207" cy="792956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Picture 6"/>
          <p:cNvSpPr>
            <a:spLocks noGrp="1"/>
          </p:cNvSpPr>
          <p:nvPr>
            <p:ph type="pic" sz="quarter" idx="10" hasCustomPrompt="1"/>
          </p:nvPr>
        </p:nvSpPr>
        <p:spPr>
          <a:xfrm>
            <a:off x="1763688" y="987574"/>
            <a:ext cx="5292080" cy="2976795"/>
          </a:xfrm>
        </p:spPr>
        <p:txBody>
          <a:bodyPr/>
          <a:lstStyle>
            <a:lvl1pPr marL="0" indent="0">
              <a:buNone/>
              <a:defRPr>
                <a:ea typeface="Trebuchet MS" panose="020B0604020202020204" pitchFamily="34" charset="-128"/>
              </a:defRPr>
            </a:lvl1pPr>
          </a:lstStyle>
          <a:p>
            <a:r>
              <a:rPr lang="en-US" altLang="fr-FR" dirty="0"/>
              <a:t>Picture</a:t>
            </a:r>
          </a:p>
          <a:p>
            <a:endParaRPr lang="fr-FR" alt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4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3153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E_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4"/>
          <p:cNvSpPr>
            <a:spLocks noGrp="1"/>
          </p:cNvSpPr>
          <p:nvPr>
            <p:ph type="pic" sz="quarter" idx="10" hasCustomPrompt="1"/>
          </p:nvPr>
        </p:nvSpPr>
        <p:spPr>
          <a:xfrm>
            <a:off x="2771800" y="1927130"/>
            <a:ext cx="1655763" cy="1657350"/>
          </a:xfrm>
          <a:prstGeom prst="ellipse">
            <a:avLst/>
          </a:prstGeom>
        </p:spPr>
        <p:txBody>
          <a:bodyPr/>
          <a:lstStyle>
            <a:lvl1pPr>
              <a:defRPr>
                <a:ea typeface="Trebuchet MS" panose="020B0604020202020204" pitchFamily="34" charset="-128"/>
              </a:defRPr>
            </a:lvl1pPr>
          </a:lstStyle>
          <a:p>
            <a:r>
              <a:rPr lang="en-US" altLang="fr-FR" dirty="0"/>
              <a:t>picture</a:t>
            </a:r>
            <a:endParaRPr lang="fr-FR" altLang="en-US" dirty="0"/>
          </a:p>
        </p:txBody>
      </p:sp>
      <p:sp>
        <p:nvSpPr>
          <p:cNvPr id="6" name="Picture 4"/>
          <p:cNvSpPr>
            <a:spLocks noGrp="1"/>
          </p:cNvSpPr>
          <p:nvPr>
            <p:ph type="pic" sz="quarter" idx="11" hasCustomPrompt="1"/>
          </p:nvPr>
        </p:nvSpPr>
        <p:spPr>
          <a:xfrm>
            <a:off x="4644008" y="1927130"/>
            <a:ext cx="1655763" cy="1657350"/>
          </a:xfrm>
          <a:prstGeom prst="ellipse">
            <a:avLst/>
          </a:prstGeom>
        </p:spPr>
        <p:txBody>
          <a:bodyPr/>
          <a:lstStyle>
            <a:lvl1pPr>
              <a:defRPr>
                <a:ea typeface="Trebuchet MS" panose="020B0604020202020204" pitchFamily="34" charset="-128"/>
              </a:defRPr>
            </a:lvl1pPr>
          </a:lstStyle>
          <a:p>
            <a:r>
              <a:rPr lang="en-US" altLang="fr-FR" dirty="0"/>
              <a:t>picture</a:t>
            </a:r>
            <a:endParaRPr lang="fr-FR" altLang="en-US" dirty="0"/>
          </a:p>
        </p:txBody>
      </p:sp>
      <p:sp>
        <p:nvSpPr>
          <p:cNvPr id="7" name="Picture 4"/>
          <p:cNvSpPr>
            <a:spLocks noGrp="1"/>
          </p:cNvSpPr>
          <p:nvPr>
            <p:ph type="pic" sz="quarter" idx="12" hasCustomPrompt="1"/>
          </p:nvPr>
        </p:nvSpPr>
        <p:spPr>
          <a:xfrm>
            <a:off x="6660232" y="1927130"/>
            <a:ext cx="1655763" cy="1657350"/>
          </a:xfrm>
          <a:prstGeom prst="ellipse">
            <a:avLst/>
          </a:prstGeom>
        </p:spPr>
        <p:txBody>
          <a:bodyPr/>
          <a:lstStyle>
            <a:lvl1pPr>
              <a:defRPr>
                <a:ea typeface="Trebuchet MS" panose="020B0604020202020204" pitchFamily="34" charset="-128"/>
              </a:defRPr>
            </a:lvl1pPr>
          </a:lstStyle>
          <a:p>
            <a:r>
              <a:rPr lang="en-US" altLang="fr-FR" dirty="0"/>
              <a:t>picture</a:t>
            </a:r>
            <a:endParaRPr lang="fr-FR" altLang="en-US" dirty="0"/>
          </a:p>
        </p:txBody>
      </p:sp>
      <p:sp>
        <p:nvSpPr>
          <p:cNvPr id="8" name="Picture 4"/>
          <p:cNvSpPr>
            <a:spLocks noGrp="1"/>
          </p:cNvSpPr>
          <p:nvPr>
            <p:ph type="pic" sz="quarter" idx="13" hasCustomPrompt="1"/>
          </p:nvPr>
        </p:nvSpPr>
        <p:spPr>
          <a:xfrm>
            <a:off x="899592" y="1927130"/>
            <a:ext cx="1655763" cy="1657350"/>
          </a:xfrm>
          <a:prstGeom prst="ellipse">
            <a:avLst/>
          </a:prstGeom>
        </p:spPr>
        <p:txBody>
          <a:bodyPr/>
          <a:lstStyle>
            <a:lvl1pPr>
              <a:defRPr>
                <a:ea typeface="Trebuchet MS" panose="020B0604020202020204" pitchFamily="34" charset="-128"/>
              </a:defRPr>
            </a:lvl1pPr>
          </a:lstStyle>
          <a:p>
            <a:r>
              <a:rPr lang="en-US" altLang="fr-FR" dirty="0"/>
              <a:t>picture</a:t>
            </a:r>
            <a:endParaRPr lang="fr-FR" altLang="en-US" dirty="0"/>
          </a:p>
        </p:txBody>
      </p:sp>
      <p:sp>
        <p:nvSpPr>
          <p:cNvPr id="10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1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5899" y="170260"/>
            <a:ext cx="8693207" cy="792956"/>
          </a:xfrm>
        </p:spPr>
        <p:txBody>
          <a:bodyPr/>
          <a:lstStyle>
            <a:lvl1pPr>
              <a:defRPr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3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8796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Agenda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922"/>
            <a:ext cx="9143999" cy="5143499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0" y="-8927"/>
            <a:ext cx="4430486" cy="5152427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4358486" y="1749691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358486" y="2639212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  <a:p>
            <a:pPr algn="ctr">
              <a:spcBef>
                <a:spcPts val="0"/>
              </a:spcBef>
            </a:pPr>
            <a:r>
              <a:rPr lang="fr-BE" dirty="0">
                <a:latin typeface="Trebuchet MS" panose="020B0603020202020204" pitchFamily="34" charset="0"/>
                <a:cs typeface="Trebuchet MS" panose="020B0502040204020203" pitchFamily="34" charset="0"/>
              </a:rPr>
              <a:t>\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358486" y="3528733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358486" y="4418253"/>
            <a:ext cx="72000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3" name="Titre 3"/>
          <p:cNvSpPr>
            <a:spLocks noGrp="1"/>
          </p:cNvSpPr>
          <p:nvPr>
            <p:ph type="title"/>
          </p:nvPr>
        </p:nvSpPr>
        <p:spPr>
          <a:xfrm>
            <a:off x="200025" y="170260"/>
            <a:ext cx="4219576" cy="82986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24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219075" y="1885950"/>
            <a:ext cx="3952875" cy="3257550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800">
                <a:solidFill>
                  <a:schemeClr val="bg1"/>
                </a:solidFill>
              </a:defRPr>
            </a:lvl2pPr>
            <a:lvl3pPr algn="r">
              <a:defRPr sz="16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endParaRPr lang="fr-FR" dirty="0"/>
          </a:p>
        </p:txBody>
      </p:sp>
      <p:sp>
        <p:nvSpPr>
          <p:cNvPr id="26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32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013359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Agenda with Ti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48578" y="0"/>
            <a:ext cx="9192578" cy="37312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222" y="0"/>
            <a:ext cx="9141778" cy="890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952750" y="1704975"/>
            <a:ext cx="1838325" cy="20193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5010150" y="1714500"/>
            <a:ext cx="1838325" cy="20193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endParaRPr lang="fr-FR" dirty="0"/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7054850" y="1704975"/>
            <a:ext cx="1838325" cy="20193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endParaRPr lang="fr-FR" dirty="0"/>
          </a:p>
        </p:txBody>
      </p:sp>
      <p:grpSp>
        <p:nvGrpSpPr>
          <p:cNvPr id="15" name="Group 12"/>
          <p:cNvGrpSpPr/>
          <p:nvPr userDrawn="1"/>
        </p:nvGrpSpPr>
        <p:grpSpPr>
          <a:xfrm>
            <a:off x="2851350" y="1156189"/>
            <a:ext cx="72000" cy="2575084"/>
            <a:chOff x="3060900" y="1156189"/>
            <a:chExt cx="72000" cy="2575084"/>
          </a:xfrm>
        </p:grpSpPr>
        <p:cxnSp>
          <p:nvCxnSpPr>
            <p:cNvPr id="16" name="Straight Connector 112"/>
            <p:cNvCxnSpPr/>
            <p:nvPr/>
          </p:nvCxnSpPr>
          <p:spPr>
            <a:xfrm flipV="1">
              <a:off x="3066162" y="1156189"/>
              <a:ext cx="0" cy="2575084"/>
            </a:xfrm>
            <a:prstGeom prst="line">
              <a:avLst/>
            </a:prstGeom>
            <a:ln w="9525">
              <a:solidFill>
                <a:schemeClr val="bg1">
                  <a:lumMod val="9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060900" y="1156189"/>
              <a:ext cx="72000" cy="72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BE" dirty="0">
                <a:latin typeface="Trebuchet MS" panose="020B0603020202020204" pitchFamily="34" charset="0"/>
                <a:cs typeface="Trebuchet MS" panose="020B0502040204020203" pitchFamily="34" charset="0"/>
              </a:endParaRPr>
            </a:p>
          </p:txBody>
        </p:sp>
      </p:grpSp>
      <p:grpSp>
        <p:nvGrpSpPr>
          <p:cNvPr id="18" name="Group 25"/>
          <p:cNvGrpSpPr/>
          <p:nvPr userDrawn="1"/>
        </p:nvGrpSpPr>
        <p:grpSpPr>
          <a:xfrm>
            <a:off x="4899701" y="1156189"/>
            <a:ext cx="72000" cy="2575084"/>
            <a:chOff x="3060900" y="1156189"/>
            <a:chExt cx="72000" cy="2575084"/>
          </a:xfrm>
        </p:grpSpPr>
        <p:cxnSp>
          <p:nvCxnSpPr>
            <p:cNvPr id="19" name="Straight Connector 112"/>
            <p:cNvCxnSpPr/>
            <p:nvPr/>
          </p:nvCxnSpPr>
          <p:spPr>
            <a:xfrm flipV="1">
              <a:off x="3066162" y="1156189"/>
              <a:ext cx="0" cy="2575084"/>
            </a:xfrm>
            <a:prstGeom prst="line">
              <a:avLst/>
            </a:prstGeom>
            <a:ln w="9525">
              <a:solidFill>
                <a:schemeClr val="bg1">
                  <a:lumMod val="9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3060900" y="1156189"/>
              <a:ext cx="72000" cy="72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BE" dirty="0">
                <a:latin typeface="Trebuchet MS" panose="020B0603020202020204" pitchFamily="34" charset="0"/>
                <a:cs typeface="Trebuchet MS" panose="020B0502040204020203" pitchFamily="34" charset="0"/>
              </a:endParaRPr>
            </a:p>
          </p:txBody>
        </p:sp>
      </p:grpSp>
      <p:grpSp>
        <p:nvGrpSpPr>
          <p:cNvPr id="21" name="Group 28"/>
          <p:cNvGrpSpPr/>
          <p:nvPr userDrawn="1"/>
        </p:nvGrpSpPr>
        <p:grpSpPr>
          <a:xfrm>
            <a:off x="6948053" y="1157268"/>
            <a:ext cx="72000" cy="2575084"/>
            <a:chOff x="3060900" y="1156189"/>
            <a:chExt cx="72000" cy="2575084"/>
          </a:xfrm>
        </p:grpSpPr>
        <p:cxnSp>
          <p:nvCxnSpPr>
            <p:cNvPr id="22" name="Straight Connector 112"/>
            <p:cNvCxnSpPr/>
            <p:nvPr/>
          </p:nvCxnSpPr>
          <p:spPr>
            <a:xfrm flipV="1">
              <a:off x="3066162" y="1156189"/>
              <a:ext cx="0" cy="2575084"/>
            </a:xfrm>
            <a:prstGeom prst="line">
              <a:avLst/>
            </a:prstGeom>
            <a:ln w="9525">
              <a:solidFill>
                <a:schemeClr val="bg1">
                  <a:lumMod val="9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3060900" y="1156189"/>
              <a:ext cx="72000" cy="72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BE" dirty="0">
                <a:latin typeface="Trebuchet MS" panose="020B0603020202020204" pitchFamily="34" charset="0"/>
                <a:cs typeface="Trebuchet MS" panose="020B0502040204020203" pitchFamily="34" charset="0"/>
              </a:endParaRPr>
            </a:p>
          </p:txBody>
        </p:sp>
      </p:grpSp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6507808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Agenda with Ti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4" y="89036"/>
            <a:ext cx="9144004" cy="3642236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48578" y="0"/>
            <a:ext cx="9192578" cy="89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>
          <a:xfrm>
            <a:off x="2952750" y="1704975"/>
            <a:ext cx="1838325" cy="20193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05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endParaRPr lang="fr-FR" dirty="0"/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5010150" y="1714500"/>
            <a:ext cx="1838325" cy="20193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05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endParaRPr lang="fr-FR" dirty="0"/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7054850" y="1704975"/>
            <a:ext cx="1838325" cy="2019300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05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Modifiez les styles du u</a:t>
            </a:r>
          </a:p>
        </p:txBody>
      </p:sp>
      <p:grpSp>
        <p:nvGrpSpPr>
          <p:cNvPr id="15" name="Group 12"/>
          <p:cNvGrpSpPr/>
          <p:nvPr userDrawn="1"/>
        </p:nvGrpSpPr>
        <p:grpSpPr>
          <a:xfrm>
            <a:off x="2851350" y="1156189"/>
            <a:ext cx="72000" cy="2575084"/>
            <a:chOff x="3060900" y="1156189"/>
            <a:chExt cx="72000" cy="2575084"/>
          </a:xfrm>
        </p:grpSpPr>
        <p:cxnSp>
          <p:nvCxnSpPr>
            <p:cNvPr id="16" name="Straight Connector 112"/>
            <p:cNvCxnSpPr/>
            <p:nvPr/>
          </p:nvCxnSpPr>
          <p:spPr>
            <a:xfrm flipV="1">
              <a:off x="3066162" y="1156189"/>
              <a:ext cx="0" cy="2575084"/>
            </a:xfrm>
            <a:prstGeom prst="line">
              <a:avLst/>
            </a:prstGeom>
            <a:ln w="9525">
              <a:solidFill>
                <a:schemeClr val="bg1">
                  <a:lumMod val="9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060900" y="1156189"/>
              <a:ext cx="72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BE" dirty="0">
                <a:latin typeface="Trebuchet MS" panose="020B0603020202020204" pitchFamily="34" charset="0"/>
                <a:cs typeface="Trebuchet MS" panose="020B0502040204020203" pitchFamily="34" charset="0"/>
              </a:endParaRPr>
            </a:p>
          </p:txBody>
        </p:sp>
      </p:grpSp>
      <p:grpSp>
        <p:nvGrpSpPr>
          <p:cNvPr id="18" name="Group 25"/>
          <p:cNvGrpSpPr/>
          <p:nvPr userDrawn="1"/>
        </p:nvGrpSpPr>
        <p:grpSpPr>
          <a:xfrm>
            <a:off x="4899701" y="1156189"/>
            <a:ext cx="72000" cy="2575084"/>
            <a:chOff x="3060900" y="1156189"/>
            <a:chExt cx="72000" cy="2575084"/>
          </a:xfrm>
        </p:grpSpPr>
        <p:cxnSp>
          <p:nvCxnSpPr>
            <p:cNvPr id="19" name="Straight Connector 112"/>
            <p:cNvCxnSpPr/>
            <p:nvPr/>
          </p:nvCxnSpPr>
          <p:spPr>
            <a:xfrm flipV="1">
              <a:off x="3066162" y="1156189"/>
              <a:ext cx="0" cy="2575084"/>
            </a:xfrm>
            <a:prstGeom prst="line">
              <a:avLst/>
            </a:prstGeom>
            <a:ln w="9525">
              <a:solidFill>
                <a:schemeClr val="bg1">
                  <a:lumMod val="9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3060900" y="1156189"/>
              <a:ext cx="72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BE" dirty="0">
                <a:latin typeface="Trebuchet MS" panose="020B0603020202020204" pitchFamily="34" charset="0"/>
                <a:cs typeface="Trebuchet MS" panose="020B0502040204020203" pitchFamily="34" charset="0"/>
              </a:endParaRPr>
            </a:p>
          </p:txBody>
        </p:sp>
      </p:grpSp>
      <p:grpSp>
        <p:nvGrpSpPr>
          <p:cNvPr id="21" name="Group 28"/>
          <p:cNvGrpSpPr/>
          <p:nvPr userDrawn="1"/>
        </p:nvGrpSpPr>
        <p:grpSpPr>
          <a:xfrm>
            <a:off x="6948053" y="1157268"/>
            <a:ext cx="72000" cy="2575084"/>
            <a:chOff x="3060900" y="1156189"/>
            <a:chExt cx="72000" cy="2575084"/>
          </a:xfrm>
        </p:grpSpPr>
        <p:cxnSp>
          <p:nvCxnSpPr>
            <p:cNvPr id="22" name="Straight Connector 112"/>
            <p:cNvCxnSpPr/>
            <p:nvPr/>
          </p:nvCxnSpPr>
          <p:spPr>
            <a:xfrm flipV="1">
              <a:off x="3066162" y="1156189"/>
              <a:ext cx="0" cy="2575084"/>
            </a:xfrm>
            <a:prstGeom prst="line">
              <a:avLst/>
            </a:prstGeom>
            <a:ln w="9525">
              <a:solidFill>
                <a:schemeClr val="bg1">
                  <a:lumMod val="95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3060900" y="1156189"/>
              <a:ext cx="72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0"/>
                </a:spcBef>
              </a:pPr>
              <a:endParaRPr lang="fr-BE" dirty="0">
                <a:latin typeface="Trebuchet MS" panose="020B0603020202020204" pitchFamily="34" charset="0"/>
                <a:cs typeface="Trebuchet MS" panose="020B0502040204020203" pitchFamily="34" charset="0"/>
              </a:endParaRPr>
            </a:p>
          </p:txBody>
        </p:sp>
      </p:grpSp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1208457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Full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" y="9524"/>
            <a:ext cx="9129143" cy="51339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390" y="-1"/>
            <a:ext cx="9144000" cy="5143500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FR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282" y="0"/>
            <a:ext cx="5223108" cy="4959842"/>
          </a:xfrm>
          <a:prstGeom prst="rect">
            <a:avLst/>
          </a:prstGeom>
        </p:spPr>
      </p:pic>
      <p:sp>
        <p:nvSpPr>
          <p:cNvPr id="14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15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re 3"/>
          <p:cNvSpPr>
            <a:spLocks noGrp="1"/>
          </p:cNvSpPr>
          <p:nvPr>
            <p:ph type="title"/>
          </p:nvPr>
        </p:nvSpPr>
        <p:spPr>
          <a:xfrm>
            <a:off x="200025" y="170260"/>
            <a:ext cx="7429500" cy="82986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6390" y="2"/>
            <a:ext cx="79200" cy="514349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9686" tIns="34843" rIns="69686" bIns="34843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914286"/>
            <a:endParaRPr lang="en-GB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1870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Full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7" y="9524"/>
            <a:ext cx="9127066" cy="51339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6390" y="-1"/>
            <a:ext cx="9143999" cy="5143500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FR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282" y="0"/>
            <a:ext cx="5223108" cy="4959842"/>
          </a:xfrm>
          <a:prstGeom prst="rect">
            <a:avLst/>
          </a:prstGeom>
        </p:spPr>
      </p:pic>
      <p:sp>
        <p:nvSpPr>
          <p:cNvPr id="14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15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re 3"/>
          <p:cNvSpPr>
            <a:spLocks noGrp="1"/>
          </p:cNvSpPr>
          <p:nvPr>
            <p:ph type="title"/>
          </p:nvPr>
        </p:nvSpPr>
        <p:spPr>
          <a:xfrm>
            <a:off x="200025" y="170260"/>
            <a:ext cx="7429500" cy="82986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6390" y="2"/>
            <a:ext cx="79200" cy="5143498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9686" tIns="34843" rIns="69686" bIns="34843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914286"/>
            <a:endParaRPr lang="en-GB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88208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Emphasi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3998" cy="51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572001" y="3177"/>
            <a:ext cx="4572000" cy="5140323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cs typeface="Trebuchet MS" panose="020B0502040204020203" pitchFamily="34" charset="0"/>
            </a:endParaRPr>
          </a:p>
        </p:txBody>
      </p:sp>
      <p:cxnSp>
        <p:nvCxnSpPr>
          <p:cNvPr id="9" name="Straight Connector 112"/>
          <p:cNvCxnSpPr/>
          <p:nvPr userDrawn="1"/>
        </p:nvCxnSpPr>
        <p:spPr>
          <a:xfrm flipV="1">
            <a:off x="4641975" y="-15943"/>
            <a:ext cx="1404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05" y="689865"/>
            <a:ext cx="515668" cy="396420"/>
          </a:xfrm>
          <a:prstGeom prst="rect">
            <a:avLst/>
          </a:prstGeom>
        </p:spPr>
      </p:pic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4398011" y="4804437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6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6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67349" y="1075134"/>
            <a:ext cx="3435351" cy="3458766"/>
          </a:xfrm>
        </p:spPr>
        <p:txBody>
          <a:bodyPr lIns="91428" tIns="45715" rIns="91428" bIns="45715" anchor="t" anchorCtr="0"/>
          <a:lstStyle>
            <a:lvl1pPr>
              <a:defRPr lang="fr-FR" sz="3200" b="0" kern="120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 lvl="0" defTabSz="91440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dirty="0"/>
              <a:t>Modifiez le style du titre</a:t>
            </a:r>
          </a:p>
        </p:txBody>
      </p:sp>
      <p:sp>
        <p:nvSpPr>
          <p:cNvPr id="15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6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439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-3834"/>
            <a:ext cx="9150814" cy="5147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143501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814" y="-26898"/>
            <a:ext cx="7411561" cy="5146674"/>
          </a:xfrm>
          <a:prstGeom prst="rect">
            <a:avLst/>
          </a:prstGeom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6823" y="1493663"/>
            <a:ext cx="4333996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66823" y="2314862"/>
            <a:ext cx="4314945" cy="46315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chemeClr val="bg1"/>
                </a:solidFill>
                <a:ea typeface="Trebuchet MS" panose="020B0603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6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7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4336774" y="1482882"/>
            <a:ext cx="105405" cy="815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00" y="1134708"/>
            <a:ext cx="2326255" cy="57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388224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24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E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-9524"/>
            <a:ext cx="9144000" cy="5136548"/>
          </a:xfrm>
          <a:prstGeom prst="rect">
            <a:avLst/>
          </a:prstGeom>
          <a:solidFill>
            <a:srgbClr val="34B233">
              <a:alpha val="7215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-1" y="-8927"/>
            <a:ext cx="6044093" cy="515242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5" name="Titre 3"/>
          <p:cNvSpPr>
            <a:spLocks noGrp="1"/>
          </p:cNvSpPr>
          <p:nvPr>
            <p:ph type="title"/>
          </p:nvPr>
        </p:nvSpPr>
        <p:spPr>
          <a:xfrm>
            <a:off x="215901" y="1808560"/>
            <a:ext cx="5499099" cy="829865"/>
          </a:xfrm>
        </p:spPr>
        <p:txBody>
          <a:bodyPr/>
          <a:lstStyle>
            <a:lvl1pPr algn="r">
              <a:defRPr sz="28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6" name="Straight Connector 112"/>
          <p:cNvCxnSpPr/>
          <p:nvPr userDrawn="1"/>
        </p:nvCxnSpPr>
        <p:spPr>
          <a:xfrm flipV="1">
            <a:off x="5949615" y="-9525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6177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ALE_Title and 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89993" y="3157420"/>
            <a:ext cx="8727587" cy="804859"/>
          </a:xfrm>
        </p:spPr>
        <p:txBody>
          <a:bodyPr anchor="b"/>
          <a:lstStyle>
            <a:lvl1pPr>
              <a:defRPr b="0" cap="none">
                <a:latin typeface="Trebuchet MS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4952" y="3969094"/>
            <a:ext cx="8695837" cy="463154"/>
          </a:xfrm>
        </p:spPr>
        <p:txBody>
          <a:bodyPr lIns="69677" tIns="34839" rIns="69677" bIns="34839"/>
          <a:lstStyle>
            <a:lvl1pPr marL="0" indent="0">
              <a:buFont typeface="Arial" pitchFamily="34" charset="0"/>
              <a:buNone/>
              <a:defRPr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3" y="-1308"/>
            <a:ext cx="79200" cy="10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cs typeface="Trebuchet MS" panose="020B0604020202020204" pitchFamily="34" charset="-128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603020202020204" pitchFamily="34" charset="0"/>
              <a:cs typeface="Trebuchet MS" panose="020B0604020202020204" pitchFamily="34" charset="-128"/>
            </a:endParaRPr>
          </a:p>
        </p:txBody>
      </p:sp>
      <p:cxnSp>
        <p:nvCxnSpPr>
          <p:cNvPr id="13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355" y="4690465"/>
            <a:ext cx="1122840" cy="3074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941" y="4497620"/>
            <a:ext cx="1296881" cy="735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954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LE_Main Title Dark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376"/>
            <a:ext cx="9142664" cy="5142748"/>
          </a:xfrm>
          <a:prstGeom prst="rect">
            <a:avLst/>
          </a:prstGeom>
          <a:solidFill>
            <a:srgbClr val="34B233">
              <a:alpha val="7215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073"/>
          <a:stretch/>
        </p:blipFill>
        <p:spPr>
          <a:xfrm flipH="1">
            <a:off x="0" y="158750"/>
            <a:ext cx="4319588" cy="2827293"/>
          </a:xfrm>
          <a:prstGeom prst="rect">
            <a:avLst/>
          </a:prstGeom>
        </p:spPr>
      </p:pic>
      <p:sp>
        <p:nvSpPr>
          <p:cNvPr id="19" name="Rectangle 18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1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3989" y="2589004"/>
            <a:ext cx="4333996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3989" y="3410203"/>
            <a:ext cx="4314945" cy="46315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chemeClr val="bg1"/>
                </a:solidFill>
                <a:ea typeface="Trebuchet MS" panose="020B0603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4323941" y="2578223"/>
            <a:ext cx="79200" cy="815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52" y="2697625"/>
            <a:ext cx="2326255" cy="576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24054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24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LE_Main Title Dark Blu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5143500"/>
          </a:xfrm>
          <a:prstGeom prst="rect">
            <a:avLst/>
          </a:prstGeom>
          <a:gradFill>
            <a:gsLst>
              <a:gs pos="81000">
                <a:srgbClr val="D30547">
                  <a:alpha val="80000"/>
                </a:srgbClr>
              </a:gs>
              <a:gs pos="6000">
                <a:srgbClr val="D30547">
                  <a:alpha val="29804"/>
                </a:srgbClr>
              </a:gs>
            </a:gsLst>
            <a:lin ang="1800000" scaled="0"/>
          </a:gradFill>
          <a:ln>
            <a:noFill/>
          </a:ln>
        </p:spPr>
      </p:pic>
      <p:sp>
        <p:nvSpPr>
          <p:cNvPr id="21" name="Rectangle 20"/>
          <p:cNvSpPr/>
          <p:nvPr userDrawn="1">
            <p:custDataLst>
              <p:tags r:id="rId2"/>
            </p:custDataLst>
          </p:nvPr>
        </p:nvSpPr>
        <p:spPr>
          <a:xfrm>
            <a:off x="0" y="3177"/>
            <a:ext cx="9143998" cy="5143499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824410" y="130175"/>
            <a:ext cx="4319588" cy="4101863"/>
          </a:xfrm>
          <a:prstGeom prst="rect">
            <a:avLst/>
          </a:prstGeom>
        </p:spPr>
      </p:pic>
      <p:sp>
        <p:nvSpPr>
          <p:cNvPr id="23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4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 userDrawn="1"/>
        </p:nvSpPr>
        <p:spPr>
          <a:xfrm>
            <a:off x="4336775" y="1482882"/>
            <a:ext cx="79200" cy="815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59" y="1493663"/>
            <a:ext cx="2326255" cy="576836"/>
          </a:xfrm>
          <a:prstGeom prst="rect">
            <a:avLst/>
          </a:prstGeom>
        </p:spPr>
      </p:pic>
      <p:sp>
        <p:nvSpPr>
          <p:cNvPr id="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6823" y="1493663"/>
            <a:ext cx="4333996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66823" y="2314862"/>
            <a:ext cx="4314945" cy="46315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chemeClr val="bg1"/>
                </a:solidFill>
                <a:ea typeface="Trebuchet MS" panose="020B0603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</a:pPr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573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24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Main Title Dark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0" y="0"/>
            <a:ext cx="9144000" cy="5143500"/>
          </a:xfrm>
          <a:prstGeom prst="rect">
            <a:avLst/>
          </a:prstGeom>
          <a:solidFill>
            <a:srgbClr val="34B233">
              <a:alpha val="7215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0" y="0"/>
            <a:ext cx="9143999" cy="5143500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74" y="1047771"/>
            <a:ext cx="4313128" cy="4095729"/>
          </a:xfrm>
          <a:prstGeom prst="rect">
            <a:avLst/>
          </a:prstGeom>
        </p:spPr>
      </p:pic>
      <p:sp>
        <p:nvSpPr>
          <p:cNvPr id="24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5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 userDrawn="1"/>
        </p:nvSpPr>
        <p:spPr>
          <a:xfrm>
            <a:off x="4321469" y="2557729"/>
            <a:ext cx="89299" cy="815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27" name="Straight Connector 112"/>
          <p:cNvCxnSpPr/>
          <p:nvPr userDrawn="1"/>
        </p:nvCxnSpPr>
        <p:spPr>
          <a:xfrm flipV="1">
            <a:off x="4411340" y="-24862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47" y="2677131"/>
            <a:ext cx="2326255" cy="576836"/>
          </a:xfrm>
          <a:prstGeom prst="rect">
            <a:avLst/>
          </a:prstGeom>
        </p:spPr>
      </p:pic>
      <p:sp>
        <p:nvSpPr>
          <p:cNvPr id="2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68704" y="2568510"/>
            <a:ext cx="4333996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68704" y="3389709"/>
            <a:ext cx="4314945" cy="46315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chemeClr val="bg1"/>
                </a:solidFill>
                <a:ea typeface="Trebuchet MS" panose="020B0603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</a:pPr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4742625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Title Dark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828" y="12645"/>
            <a:ext cx="9065172" cy="5137208"/>
          </a:xfrm>
          <a:prstGeom prst="rect">
            <a:avLst/>
          </a:prstGeom>
          <a:solidFill>
            <a:srgbClr val="34B233">
              <a:alpha val="7215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4327737" y="3177"/>
            <a:ext cx="4816263" cy="5143499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20" name="Straight Connector 112"/>
          <p:cNvCxnSpPr/>
          <p:nvPr userDrawn="1"/>
        </p:nvCxnSpPr>
        <p:spPr>
          <a:xfrm flipV="1">
            <a:off x="4406565" y="0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4327737" y="1101871"/>
            <a:ext cx="78828" cy="72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5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6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0" y="1020697"/>
            <a:ext cx="4330700" cy="804859"/>
          </a:xfrm>
        </p:spPr>
        <p:txBody>
          <a:bodyPr anchor="b"/>
          <a:lstStyle>
            <a:lvl1pPr>
              <a:defRPr sz="2800" b="1" cap="none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1841896"/>
            <a:ext cx="4311649" cy="46315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t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chemeClr val="bg1"/>
                </a:solidFill>
                <a:ea typeface="Trebuchet MS" panose="020B0603020202020204" pitchFamily="34" charset="0"/>
              </a:defRPr>
            </a:lvl1pPr>
          </a:lstStyle>
          <a:p>
            <a:pPr marL="0" lv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</a:pPr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24"/>
            <a:ext cx="9144000" cy="5143500"/>
          </a:xfrm>
          <a:prstGeom prst="rect">
            <a:avLst/>
          </a:prstGeom>
        </p:spPr>
      </p:pic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15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 bwMode="auto">
          <a:xfrm>
            <a:off x="0" y="0"/>
            <a:ext cx="6057900" cy="5143500"/>
          </a:xfrm>
          <a:prstGeom prst="rect">
            <a:avLst/>
          </a:prstGeom>
          <a:gradFill>
            <a:gsLst>
              <a:gs pos="81000">
                <a:schemeClr val="accent3">
                  <a:alpha val="80000"/>
                </a:schemeClr>
              </a:gs>
              <a:gs pos="0">
                <a:schemeClr val="accent3">
                  <a:lumMod val="75000"/>
                  <a:alpha val="30000"/>
                </a:schemeClr>
              </a:gs>
            </a:gsLst>
            <a:lin ang="1800000" scaled="0"/>
          </a:gra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0"/>
              </a:spcBef>
            </a:pPr>
            <a:endParaRPr lang="fr-FR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17" name="Straight Connector 112"/>
          <p:cNvCxnSpPr/>
          <p:nvPr userDrawn="1"/>
        </p:nvCxnSpPr>
        <p:spPr>
          <a:xfrm flipV="1">
            <a:off x="5959140" y="-9525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4074289" cy="3868928"/>
          </a:xfrm>
          <a:prstGeom prst="rect">
            <a:avLst/>
          </a:prstGeom>
        </p:spPr>
      </p:pic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83495" y="4704175"/>
            <a:ext cx="1090559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0755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E_Title Clear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-2" y="-10938"/>
            <a:ext cx="9132090" cy="5136800"/>
          </a:xfrm>
          <a:prstGeom prst="rect">
            <a:avLst/>
          </a:prstGeom>
          <a:solidFill>
            <a:srgbClr val="34B233">
              <a:alpha val="7215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/>
          <p:cNvSpPr/>
          <p:nvPr userDrawn="1"/>
        </p:nvSpPr>
        <p:spPr>
          <a:xfrm>
            <a:off x="4327737" y="3177"/>
            <a:ext cx="4816263" cy="514349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endParaRPr lang="fr-BE" dirty="0">
              <a:solidFill>
                <a:schemeClr val="bg1"/>
              </a:solidFill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cxnSp>
        <p:nvCxnSpPr>
          <p:cNvPr id="22" name="Straight Connector 112"/>
          <p:cNvCxnSpPr/>
          <p:nvPr userDrawn="1"/>
        </p:nvCxnSpPr>
        <p:spPr>
          <a:xfrm flipV="1">
            <a:off x="4406565" y="0"/>
            <a:ext cx="0" cy="514350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 userDrawn="1"/>
        </p:nvSpPr>
        <p:spPr>
          <a:xfrm>
            <a:off x="0" y="0"/>
            <a:ext cx="78828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327737" y="1020697"/>
            <a:ext cx="78828" cy="8011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BE" dirty="0">
              <a:latin typeface="Trebuchet MS" panose="020B0603020202020204" pitchFamily="34" charset="0"/>
              <a:cs typeface="Trebuchet MS" panose="020B0502040204020203" pitchFamily="34" charset="0"/>
            </a:endParaRP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0" y="1020697"/>
            <a:ext cx="4330700" cy="804859"/>
          </a:xfrm>
        </p:spPr>
        <p:txBody>
          <a:bodyPr anchor="b"/>
          <a:lstStyle>
            <a:lvl1pPr>
              <a:defRPr sz="2800" b="1" cap="none">
                <a:solidFill>
                  <a:schemeClr val="accent3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68704" y="1841896"/>
            <a:ext cx="4314945" cy="463154"/>
          </a:xfrm>
        </p:spPr>
        <p:txBody>
          <a:bodyPr lIns="69677" tIns="34839" rIns="69677" bIns="34839"/>
          <a:lstStyle>
            <a:lvl1pPr marL="0" indent="0">
              <a:spcBef>
                <a:spcPts val="600"/>
              </a:spcBef>
              <a:spcAft>
                <a:spcPts val="0"/>
              </a:spcAft>
              <a:buFont typeface="Trebuchet MS" pitchFamily="34" charset="0"/>
              <a:buNone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7" name="Footer Placeholder 2"/>
          <p:cNvSpPr txBox="1">
            <a:spLocks/>
          </p:cNvSpPr>
          <p:nvPr userDrawn="1"/>
        </p:nvSpPr>
        <p:spPr>
          <a:xfrm>
            <a:off x="215900" y="4734098"/>
            <a:ext cx="372452" cy="179784"/>
          </a:xfrm>
          <a:prstGeom prst="rect">
            <a:avLst/>
          </a:prstGeom>
        </p:spPr>
        <p:txBody>
          <a:bodyPr lIns="69677" tIns="34839" rIns="69677" bIns="34839" anchor="b"/>
          <a:lstStyle>
            <a:defPPr>
              <a:defRPr lang="en-GB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Tahoma" pitchFamily="34" charset="0"/>
              </a:defRPr>
            </a:lvl1pPr>
          </a:lstStyle>
          <a:p>
            <a:pPr algn="ctr">
              <a:spcBef>
                <a:spcPct val="0"/>
              </a:spcBef>
              <a:defRPr/>
            </a:pPr>
            <a:fld id="{1D43DDA3-B8F5-4355-8795-A0F7A61B9EB2}" type="slidenum">
              <a:rPr lang="en-US" sz="1000" smtClean="0">
                <a:solidFill>
                  <a:schemeClr val="bg1"/>
                </a:solidFill>
                <a:latin typeface="Trebuchet MS" panose="020B0603020202020204" pitchFamily="34" charset="0"/>
                <a:cs typeface="Trebuchet MS" pitchFamily="34" charset="0"/>
              </a:rPr>
              <a:pPr algn="ctr">
                <a:spcBef>
                  <a:spcPct val="0"/>
                </a:spcBef>
                <a:defRPr/>
              </a:pPr>
              <a:t>‹Nº›</a:t>
            </a:fld>
            <a:endParaRPr lang="en-US" sz="1000" dirty="0">
              <a:solidFill>
                <a:schemeClr val="bg1"/>
              </a:solidFill>
              <a:latin typeface="Trebuchet MS" panose="020B0603020202020204" pitchFamily="34" charset="0"/>
              <a:cs typeface="Trebuchet MS" pitchFamily="34" charset="0"/>
            </a:endParaRPr>
          </a:p>
        </p:txBody>
      </p:sp>
      <p:cxnSp>
        <p:nvCxnSpPr>
          <p:cNvPr id="28" name="Straight Connector 112"/>
          <p:cNvCxnSpPr/>
          <p:nvPr userDrawn="1"/>
        </p:nvCxnSpPr>
        <p:spPr>
          <a:xfrm flipH="1">
            <a:off x="206372" y="4913643"/>
            <a:ext cx="1004835" cy="0"/>
          </a:xfrm>
          <a:prstGeom prst="line">
            <a:avLst/>
          </a:prstGeom>
          <a:ln w="9525">
            <a:solidFill>
              <a:schemeClr val="bg1">
                <a:lumMod val="9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90863" y="4704175"/>
            <a:ext cx="1075822" cy="29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321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4953" y="170260"/>
            <a:ext cx="8673362" cy="754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9677" tIns="34839" rIns="69677" bIns="348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8354" y="1125414"/>
            <a:ext cx="8674821" cy="32906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4839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724" r:id="rId3"/>
    <p:sldLayoutId id="2147483720" r:id="rId4"/>
    <p:sldLayoutId id="2147483683" r:id="rId5"/>
    <p:sldLayoutId id="2147483680" r:id="rId6"/>
    <p:sldLayoutId id="2147483649" r:id="rId7"/>
    <p:sldLayoutId id="2147483719" r:id="rId8"/>
    <p:sldLayoutId id="2147483661" r:id="rId9"/>
    <p:sldLayoutId id="2147483725" r:id="rId10"/>
    <p:sldLayoutId id="2147483664" r:id="rId11"/>
    <p:sldLayoutId id="2147483665" r:id="rId12"/>
    <p:sldLayoutId id="2147483669" r:id="rId13"/>
    <p:sldLayoutId id="2147483650" r:id="rId14"/>
    <p:sldLayoutId id="2147483671" r:id="rId15"/>
    <p:sldLayoutId id="2147483672" r:id="rId16"/>
    <p:sldLayoutId id="2147483674" r:id="rId17"/>
    <p:sldLayoutId id="2147483652" r:id="rId18"/>
    <p:sldLayoutId id="2147483654" r:id="rId19"/>
    <p:sldLayoutId id="2147483660" r:id="rId20"/>
    <p:sldLayoutId id="2147483718" r:id="rId21"/>
    <p:sldLayoutId id="2147483717" r:id="rId22"/>
    <p:sldLayoutId id="2147483688" r:id="rId23"/>
    <p:sldLayoutId id="2147483667" r:id="rId24"/>
    <p:sldLayoutId id="2147483666" r:id="rId25"/>
    <p:sldLayoutId id="2147483684" r:id="rId26"/>
    <p:sldLayoutId id="2147483668" r:id="rId27"/>
    <p:sldLayoutId id="2147483729" r:id="rId28"/>
    <p:sldLayoutId id="2147483662" r:id="rId29"/>
    <p:sldLayoutId id="2147483677" r:id="rId30"/>
    <p:sldLayoutId id="2147483730" r:id="rId3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cap="none">
          <a:solidFill>
            <a:schemeClr val="tx1"/>
          </a:solidFill>
          <a:latin typeface="Trebuchet MS" panose="020B0603020202020204" pitchFamily="34" charset="0"/>
          <a:ea typeface="+mj-ea"/>
          <a:cs typeface="Trebuchet MS" panose="020B0502040204020203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5pPr>
      <a:lvl6pPr marL="348389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6pPr>
      <a:lvl7pPr marL="696777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7pPr>
      <a:lvl8pPr marL="1045165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8pPr>
      <a:lvl9pPr marL="1393554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404040"/>
          </a:solidFill>
          <a:latin typeface="Trebuchet MS" pitchFamily="34" charset="0"/>
        </a:defRPr>
      </a:lvl9pPr>
    </p:titleStyle>
    <p:bodyStyle>
      <a:lvl1pPr marL="180975" indent="-180975" algn="l" rtl="0" eaLnBrk="1" fontAlgn="base" hangingPunct="1">
        <a:spcBef>
          <a:spcPts val="600"/>
        </a:spcBef>
        <a:spcAft>
          <a:spcPts val="0"/>
        </a:spcAft>
        <a:buClrTx/>
        <a:buSzPct val="120000"/>
        <a:buFontTx/>
        <a:buBlip>
          <a:blip r:embed="rId33"/>
        </a:buBlip>
        <a:defRPr sz="1500">
          <a:solidFill>
            <a:schemeClr val="tx1"/>
          </a:solidFill>
          <a:latin typeface="Trebuchet MS" panose="020B0603020202020204" pitchFamily="34" charset="0"/>
          <a:ea typeface="+mn-ea"/>
          <a:cs typeface="Trebuchet MS" panose="020B0502040204020203" pitchFamily="34" charset="0"/>
        </a:defRPr>
      </a:lvl1pPr>
      <a:lvl2pPr marL="361950" indent="-180975" algn="l" rtl="0" eaLnBrk="1" fontAlgn="base" hangingPunct="1">
        <a:spcBef>
          <a:spcPts val="300"/>
        </a:spcBef>
        <a:spcAft>
          <a:spcPts val="0"/>
        </a:spcAft>
        <a:buClrTx/>
        <a:buFont typeface="Trebuchet MS" panose="020B0603020202020204" pitchFamily="34" charset="0"/>
        <a:buChar char="•"/>
        <a:defRPr sz="1400">
          <a:solidFill>
            <a:schemeClr val="tx1"/>
          </a:solidFill>
          <a:latin typeface="Trebuchet MS" panose="020B0603020202020204" pitchFamily="34" charset="0"/>
          <a:cs typeface="Trebuchet MS" panose="020B0502040204020203" pitchFamily="34" charset="0"/>
        </a:defRPr>
      </a:lvl2pPr>
      <a:lvl3pPr marL="538163" indent="-131763" algn="l" rtl="0" eaLnBrk="1" fontAlgn="base" hangingPunct="1">
        <a:spcBef>
          <a:spcPts val="300"/>
        </a:spcBef>
        <a:spcAft>
          <a:spcPts val="0"/>
        </a:spcAft>
        <a:buClrTx/>
        <a:buFont typeface="Trebuchet MS" pitchFamily="34" charset="0"/>
        <a:buChar char="­"/>
        <a:defRPr sz="1200">
          <a:solidFill>
            <a:schemeClr val="tx1"/>
          </a:solidFill>
          <a:latin typeface="Trebuchet MS" panose="020B0603020202020204" pitchFamily="34" charset="0"/>
          <a:cs typeface="Trebuchet MS" panose="020B0502040204020203" pitchFamily="34" charset="0"/>
        </a:defRPr>
      </a:lvl3pPr>
      <a:lvl4pPr marL="631825" indent="-85725" algn="l" rtl="0" eaLnBrk="1" fontAlgn="base" hangingPunct="1">
        <a:spcBef>
          <a:spcPts val="300"/>
        </a:spcBef>
        <a:spcAft>
          <a:spcPts val="0"/>
        </a:spcAft>
        <a:buClrTx/>
        <a:buFont typeface="Trebuchet MS" pitchFamily="34" charset="0"/>
        <a:buChar char="­"/>
        <a:defRPr sz="1100">
          <a:solidFill>
            <a:schemeClr val="tx1"/>
          </a:solidFill>
          <a:latin typeface="Trebuchet MS" panose="020B0603020202020204" pitchFamily="34" charset="0"/>
          <a:cs typeface="Trebuchet MS" panose="020B0502040204020203" pitchFamily="34" charset="0"/>
        </a:defRPr>
      </a:lvl4pPr>
      <a:lvl5pPr marL="715963" indent="-84138" algn="l" rtl="0" eaLnBrk="1" fontAlgn="base" hangingPunct="1">
        <a:spcBef>
          <a:spcPts val="300"/>
        </a:spcBef>
        <a:spcAft>
          <a:spcPts val="0"/>
        </a:spcAft>
        <a:buClrTx/>
        <a:buFont typeface="Trebuchet MS" pitchFamily="34" charset="0"/>
        <a:buChar char="­"/>
        <a:defRPr sz="1100">
          <a:solidFill>
            <a:schemeClr val="tx1"/>
          </a:solidFill>
          <a:latin typeface="Trebuchet MS" panose="020B0603020202020204" pitchFamily="34" charset="0"/>
          <a:cs typeface="Trebuchet MS" panose="020B0502040204020203" pitchFamily="34" charset="0"/>
        </a:defRPr>
      </a:lvl5pPr>
      <a:lvl6pPr marL="1093553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Trebuchet MS" pitchFamily="34" charset="0"/>
        <a:buChar char="­"/>
        <a:defRPr sz="1100">
          <a:solidFill>
            <a:schemeClr val="tx1"/>
          </a:solidFill>
          <a:latin typeface="Trebuchet MS"/>
        </a:defRPr>
      </a:lvl6pPr>
      <a:lvl7pPr marL="1441942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Trebuchet MS" pitchFamily="34" charset="0"/>
        <a:buChar char="­"/>
        <a:defRPr sz="1100">
          <a:solidFill>
            <a:schemeClr val="tx1"/>
          </a:solidFill>
          <a:latin typeface="Trebuchet MS"/>
        </a:defRPr>
      </a:lvl7pPr>
      <a:lvl8pPr marL="1790331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Trebuchet MS" pitchFamily="34" charset="0"/>
        <a:buChar char="­"/>
        <a:defRPr sz="1100">
          <a:solidFill>
            <a:schemeClr val="tx1"/>
          </a:solidFill>
          <a:latin typeface="Trebuchet MS"/>
        </a:defRPr>
      </a:lvl8pPr>
      <a:lvl9pPr marL="2138719" indent="-174194" algn="l" rtl="0" eaLnBrk="1" fontAlgn="base" hangingPunct="1">
        <a:spcBef>
          <a:spcPct val="20000"/>
        </a:spcBef>
        <a:spcAft>
          <a:spcPct val="30000"/>
        </a:spcAft>
        <a:buClr>
          <a:srgbClr val="6639B7"/>
        </a:buClr>
        <a:buFont typeface="Trebuchet MS" pitchFamily="34" charset="0"/>
        <a:buChar char="­"/>
        <a:defRPr sz="1100">
          <a:solidFill>
            <a:schemeClr val="tx1"/>
          </a:solidFill>
          <a:latin typeface="Trebuchet MS"/>
        </a:defRPr>
      </a:lvl9pPr>
    </p:bodyStyle>
    <p:otherStyle>
      <a:defPPr>
        <a:defRPr lang="en-US"/>
      </a:defPPr>
      <a:lvl1pPr marL="0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1pPr>
      <a:lvl2pPr marL="348389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2pPr>
      <a:lvl3pPr marL="696777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3pPr>
      <a:lvl4pPr marL="1045165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4pPr>
      <a:lvl5pPr marL="1393554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5pPr>
      <a:lvl6pPr marL="1741943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6pPr>
      <a:lvl7pPr marL="2090332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7pPr>
      <a:lvl8pPr marL="2438721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8pPr>
      <a:lvl9pPr marL="2787109" algn="l" defTabSz="696777" rtl="0" eaLnBrk="1" latinLnBrk="0" hangingPunct="1">
        <a:defRPr sz="1400" kern="1200">
          <a:solidFill>
            <a:schemeClr val="tx1"/>
          </a:solidFill>
          <a:latin typeface="Trebuchet MS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pos="2721" userDrawn="1">
          <p15:clr>
            <a:srgbClr val="F26B43"/>
          </p15:clr>
        </p15:guide>
        <p15:guide id="3" pos="136" userDrawn="1">
          <p15:clr>
            <a:srgbClr val="F26B43"/>
          </p15:clr>
        </p15:guide>
        <p15:guide id="4" pos="5602" userDrawn="1">
          <p15:clr>
            <a:srgbClr val="F26B43"/>
          </p15:clr>
        </p15:guide>
        <p15:guide id="5" orient="horz" pos="100" userDrawn="1">
          <p15:clr>
            <a:srgbClr val="F26B43"/>
          </p15:clr>
        </p15:guide>
        <p15:guide id="6" orient="horz" pos="373" userDrawn="1">
          <p15:clr>
            <a:srgbClr val="F26B43"/>
          </p15:clr>
        </p15:guide>
        <p15:guide id="7" orient="horz" pos="690" userDrawn="1">
          <p15:clr>
            <a:srgbClr val="F26B43"/>
          </p15:clr>
        </p15:guide>
        <p15:guide id="8" orient="horz" pos="25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0.emf"/><Relationship Id="rId7" Type="http://schemas.openxmlformats.org/officeDocument/2006/relationships/image" Target="../media/image4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jpeg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8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hyperlink" Target="http://www.linkedin.com/company/3232692?trk=tyah" TargetMode="External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://www.youtube.com/user/enterpriseALU" TargetMode="External"/><Relationship Id="rId5" Type="http://schemas.openxmlformats.org/officeDocument/2006/relationships/hyperlink" Target="http://www.facebook.com/aluenterprise" TargetMode="External"/><Relationship Id="rId10" Type="http://schemas.openxmlformats.org/officeDocument/2006/relationships/image" Target="../media/image60.png"/><Relationship Id="rId4" Type="http://schemas.openxmlformats.org/officeDocument/2006/relationships/hyperlink" Target="http://www.twitter.com/aluenterprise" TargetMode="External"/><Relationship Id="rId9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image" Target="../media/image39.png"/><Relationship Id="rId7" Type="http://schemas.openxmlformats.org/officeDocument/2006/relationships/image" Target="../media/image43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Relationship Id="rId9" Type="http://schemas.openxmlformats.org/officeDocument/2006/relationships/image" Target="../media/image4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5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emf"/><Relationship Id="rId5" Type="http://schemas.openxmlformats.org/officeDocument/2006/relationships/image" Target="../media/image39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15900" y="1392572"/>
            <a:ext cx="8677275" cy="961103"/>
          </a:xfrm>
        </p:spPr>
        <p:txBody>
          <a:bodyPr/>
          <a:lstStyle/>
          <a:p>
            <a:r>
              <a:rPr lang="en-US" dirty="0"/>
              <a:t>OmniAccess WLAN Stellar</a:t>
            </a:r>
            <a:br>
              <a:rPr lang="en-US" dirty="0"/>
            </a:br>
            <a:r>
              <a:rPr lang="en-US" dirty="0"/>
              <a:t>WLAN con Control </a:t>
            </a:r>
            <a:r>
              <a:rPr lang="en-US" dirty="0" err="1"/>
              <a:t>Distribuido</a:t>
            </a:r>
            <a:endParaRPr lang="en-US" dirty="0"/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rge Arasanz (jorge.arasanz@al-enterprise.com)</a:t>
            </a:r>
          </a:p>
        </p:txBody>
      </p:sp>
    </p:spTree>
    <p:extLst>
      <p:ext uri="{BB962C8B-B14F-4D97-AF65-F5344CB8AC3E}">
        <p14:creationId xmlns:p14="http://schemas.microsoft.com/office/powerpoint/2010/main" val="14136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b="0" dirty="0" err="1">
                <a:latin typeface="Trebuchet MS" charset="0"/>
                <a:ea typeface="Trebuchet MS" charset="0"/>
                <a:cs typeface="Trebuchet MS" charset="0"/>
              </a:rPr>
              <a:t>WiFi</a:t>
            </a:r>
            <a:r>
              <a:rPr lang="en-US" b="0" dirty="0">
                <a:latin typeface="Trebuchet MS" charset="0"/>
                <a:ea typeface="Trebuchet MS" charset="0"/>
                <a:cs typeface="Trebuchet MS" charset="0"/>
              </a:rPr>
              <a:t> Enterprise </a:t>
            </a:r>
            <a:r>
              <a:rPr lang="mr-IN" b="0" dirty="0">
                <a:latin typeface="Trebuchet MS" charset="0"/>
                <a:ea typeface="Trebuchet MS" charset="0"/>
                <a:cs typeface="Trebuchet MS" charset="0"/>
              </a:rPr>
              <a:t>–</a:t>
            </a:r>
            <a:r>
              <a:rPr lang="en-US" b="0" dirty="0">
                <a:latin typeface="Trebuchet MS" charset="0"/>
                <a:ea typeface="Trebuchet MS" charset="0"/>
                <a:cs typeface="Trebuchet MS" charset="0"/>
              </a:rPr>
              <a:t> Central managed deployment</a:t>
            </a:r>
          </a:p>
        </p:txBody>
      </p:sp>
      <p:sp>
        <p:nvSpPr>
          <p:cNvPr id="147" name="Content Placeholder 32"/>
          <p:cNvSpPr>
            <a:spLocks noGrp="1"/>
          </p:cNvSpPr>
          <p:nvPr>
            <p:ph idx="4294967295"/>
          </p:nvPr>
        </p:nvSpPr>
        <p:spPr>
          <a:xfrm>
            <a:off x="4724221" y="754144"/>
            <a:ext cx="4286607" cy="3530452"/>
          </a:xfrm>
        </p:spPr>
        <p:txBody>
          <a:bodyPr/>
          <a:lstStyle/>
          <a:p>
            <a:r>
              <a:rPr lang="en-US" sz="1400" dirty="0"/>
              <a:t>OmniVista 2500</a:t>
            </a:r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dirty="0"/>
              <a:t>Cloud ready (Q1-2018)</a:t>
            </a:r>
            <a:endParaRPr lang="en-US" sz="1200" kern="1200" dirty="0"/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kern="1200" dirty="0"/>
              <a:t>Unified wired-wireless </a:t>
            </a:r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kern="1200" dirty="0"/>
              <a:t>Access Management (Guest/BYOD)</a:t>
            </a:r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kern="1200" dirty="0"/>
              <a:t>Role based policy enforcement</a:t>
            </a:r>
          </a:p>
          <a:p>
            <a:pPr>
              <a:buClr>
                <a:srgbClr val="404040"/>
              </a:buClr>
            </a:pPr>
            <a:r>
              <a:rPr lang="en-US" sz="1400" kern="1200" dirty="0"/>
              <a:t>Smart Analytics (L7 application)</a:t>
            </a:r>
            <a:endParaRPr lang="en-US" sz="1400" dirty="0"/>
          </a:p>
          <a:p>
            <a:pPr>
              <a:buClr>
                <a:srgbClr val="404040"/>
              </a:buClr>
            </a:pPr>
            <a:r>
              <a:rPr lang="en-US" sz="1400" kern="1200" dirty="0"/>
              <a:t>Distributed intelligence control</a:t>
            </a:r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kern="1200" dirty="0">
                <a:ea typeface="+mn-ea"/>
              </a:rPr>
              <a:t>+4000 APs</a:t>
            </a:r>
          </a:p>
          <a:p>
            <a:pPr>
              <a:buClrTx/>
            </a:pPr>
            <a:r>
              <a:rPr lang="en-US" sz="1400" dirty="0"/>
              <a:t>Advanced wireless features</a:t>
            </a:r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kern="1200" dirty="0">
                <a:ea typeface="+mn-ea"/>
              </a:rPr>
              <a:t>WLAN topology on a map and heat map</a:t>
            </a:r>
          </a:p>
          <a:p>
            <a:pPr lvl="1">
              <a:spcBef>
                <a:spcPts val="600"/>
              </a:spcBef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200" kern="1200" dirty="0">
                <a:ea typeface="+mn-ea"/>
              </a:rPr>
              <a:t>Wireless security (</a:t>
            </a:r>
            <a:r>
              <a:rPr lang="en-US" sz="1200" kern="1200" dirty="0" err="1">
                <a:ea typeface="+mn-ea"/>
              </a:rPr>
              <a:t>wIDS</a:t>
            </a:r>
            <a:r>
              <a:rPr lang="en-US" sz="1200" kern="1200" dirty="0">
                <a:ea typeface="+mn-ea"/>
              </a:rPr>
              <a:t>/</a:t>
            </a:r>
            <a:r>
              <a:rPr lang="en-US" sz="1200" kern="1200" dirty="0" err="1">
                <a:ea typeface="+mn-ea"/>
              </a:rPr>
              <a:t>wIPS</a:t>
            </a:r>
            <a:r>
              <a:rPr lang="en-US" sz="1200" kern="1200" dirty="0">
                <a:ea typeface="+mn-ea"/>
              </a:rPr>
              <a:t>)</a:t>
            </a:r>
          </a:p>
        </p:txBody>
      </p:sp>
      <p:cxnSp>
        <p:nvCxnSpPr>
          <p:cNvPr id="140" name="Straight Arrow Connector 139"/>
          <p:cNvCxnSpPr/>
          <p:nvPr/>
        </p:nvCxnSpPr>
        <p:spPr>
          <a:xfrm flipH="1">
            <a:off x="677890" y="2172203"/>
            <a:ext cx="1793436" cy="1252450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/>
          <p:cNvCxnSpPr/>
          <p:nvPr/>
        </p:nvCxnSpPr>
        <p:spPr>
          <a:xfrm>
            <a:off x="2537170" y="2174973"/>
            <a:ext cx="560940" cy="904824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Arrow Connector 143"/>
          <p:cNvCxnSpPr/>
          <p:nvPr/>
        </p:nvCxnSpPr>
        <p:spPr>
          <a:xfrm>
            <a:off x="2527010" y="2185133"/>
            <a:ext cx="1548886" cy="1530494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/>
          <p:cNvCxnSpPr/>
          <p:nvPr/>
        </p:nvCxnSpPr>
        <p:spPr>
          <a:xfrm>
            <a:off x="2527012" y="2215613"/>
            <a:ext cx="26445" cy="1434074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/>
          <p:cNvCxnSpPr/>
          <p:nvPr/>
        </p:nvCxnSpPr>
        <p:spPr>
          <a:xfrm>
            <a:off x="2557490" y="2205453"/>
            <a:ext cx="609600" cy="1706880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/>
          <p:cNvCxnSpPr/>
          <p:nvPr/>
        </p:nvCxnSpPr>
        <p:spPr>
          <a:xfrm flipH="1">
            <a:off x="1450050" y="2154653"/>
            <a:ext cx="1076960" cy="985520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/>
        </p:nvCxnSpPr>
        <p:spPr>
          <a:xfrm flipH="1">
            <a:off x="1937730" y="2195293"/>
            <a:ext cx="568960" cy="1148080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/>
          <p:nvPr/>
        </p:nvCxnSpPr>
        <p:spPr>
          <a:xfrm flipH="1">
            <a:off x="2040160" y="2174973"/>
            <a:ext cx="497012" cy="1662709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/>
          <p:cNvCxnSpPr/>
          <p:nvPr/>
        </p:nvCxnSpPr>
        <p:spPr>
          <a:xfrm flipH="1">
            <a:off x="1027053" y="2162043"/>
            <a:ext cx="1474753" cy="641465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Arrow Connector 160"/>
          <p:cNvCxnSpPr/>
          <p:nvPr/>
        </p:nvCxnSpPr>
        <p:spPr>
          <a:xfrm>
            <a:off x="2547330" y="2164813"/>
            <a:ext cx="1443752" cy="992705"/>
          </a:xfrm>
          <a:prstGeom prst="straightConnector1">
            <a:avLst/>
          </a:prstGeom>
          <a:ln w="12700" cap="rnd">
            <a:solidFill>
              <a:srgbClr val="404040"/>
            </a:solidFill>
            <a:prstDash val="solid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Image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099737" y="3157518"/>
            <a:ext cx="476951" cy="350810"/>
          </a:xfrm>
          <a:prstGeom prst="rect">
            <a:avLst/>
          </a:prstGeom>
        </p:spPr>
      </p:pic>
      <p:pic>
        <p:nvPicPr>
          <p:cNvPr id="95" name="Image 2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3886355" y="3189072"/>
            <a:ext cx="543794" cy="269761"/>
          </a:xfrm>
          <a:prstGeom prst="rect">
            <a:avLst/>
          </a:prstGeom>
        </p:spPr>
      </p:pic>
      <p:pic>
        <p:nvPicPr>
          <p:cNvPr id="96" name="Image 2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2299843" y="3710934"/>
            <a:ext cx="546929" cy="306762"/>
          </a:xfrm>
          <a:prstGeom prst="rect">
            <a:avLst/>
          </a:prstGeom>
        </p:spPr>
      </p:pic>
      <p:pic>
        <p:nvPicPr>
          <p:cNvPr id="97" name="Image 2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309398" y="3424653"/>
            <a:ext cx="421847" cy="310466"/>
          </a:xfrm>
          <a:prstGeom prst="rect">
            <a:avLst/>
          </a:prstGeom>
        </p:spPr>
      </p:pic>
      <p:pic>
        <p:nvPicPr>
          <p:cNvPr id="98" name="Image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764950" y="3803020"/>
            <a:ext cx="476951" cy="350810"/>
          </a:xfrm>
          <a:prstGeom prst="rect">
            <a:avLst/>
          </a:prstGeom>
        </p:spPr>
      </p:pic>
      <p:pic>
        <p:nvPicPr>
          <p:cNvPr id="99" name="Image 2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618313" y="3336803"/>
            <a:ext cx="421847" cy="310466"/>
          </a:xfrm>
          <a:prstGeom prst="rect">
            <a:avLst/>
          </a:prstGeom>
        </p:spPr>
      </p:pic>
      <p:pic>
        <p:nvPicPr>
          <p:cNvPr id="100" name="Image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554780" y="2783086"/>
            <a:ext cx="476951" cy="350810"/>
          </a:xfrm>
          <a:prstGeom prst="rect">
            <a:avLst/>
          </a:prstGeom>
        </p:spPr>
      </p:pic>
      <p:pic>
        <p:nvPicPr>
          <p:cNvPr id="101" name="Image 2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2984211" y="3837682"/>
            <a:ext cx="476951" cy="350810"/>
          </a:xfrm>
          <a:prstGeom prst="rect">
            <a:avLst/>
          </a:prstGeom>
        </p:spPr>
      </p:pic>
      <p:pic>
        <p:nvPicPr>
          <p:cNvPr id="102" name="Image 2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2994371" y="3061855"/>
            <a:ext cx="421847" cy="310466"/>
          </a:xfrm>
          <a:prstGeom prst="rect">
            <a:avLst/>
          </a:prstGeom>
        </p:spPr>
      </p:pic>
      <p:pic>
        <p:nvPicPr>
          <p:cNvPr id="113" name="Image 2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3970762" y="3715627"/>
            <a:ext cx="546929" cy="30676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069439" y="2177592"/>
            <a:ext cx="2939031" cy="833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GB">
              <a:latin typeface="Trebuchet MS"/>
              <a:cs typeface="Trebuchet MS"/>
            </a:endParaRPr>
          </a:p>
        </p:txBody>
      </p:sp>
      <p:pic>
        <p:nvPicPr>
          <p:cNvPr id="114" name="Picture 1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999" y="661969"/>
            <a:ext cx="3500342" cy="1854145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1" y="4246928"/>
            <a:ext cx="9144000" cy="369332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entral unified management for larger deployments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00" r="1641" b="7911"/>
          <a:stretch/>
        </p:blipFill>
        <p:spPr>
          <a:xfrm>
            <a:off x="1031732" y="760429"/>
            <a:ext cx="3009225" cy="147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090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B52D4581-DBF2-43F6-9941-9E4F3241E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mniAccess® Stellar Access Points Lineup</a:t>
            </a:r>
          </a:p>
        </p:txBody>
      </p:sp>
      <p:pic>
        <p:nvPicPr>
          <p:cNvPr id="16" name="Picture 2" descr="Image result for ip67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2479" y="1191500"/>
            <a:ext cx="429424" cy="429424"/>
          </a:xfrm>
          <a:prstGeom prst="ellipse">
            <a:avLst/>
          </a:prstGeom>
          <a:noFill/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2520" y="1081471"/>
            <a:ext cx="949676" cy="1071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Imag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311" y="1068546"/>
            <a:ext cx="1095457" cy="1097280"/>
          </a:xfrm>
          <a:prstGeom prst="rect">
            <a:avLst/>
          </a:prstGeom>
        </p:spPr>
      </p:pic>
      <p:pic>
        <p:nvPicPr>
          <p:cNvPr id="6" name="Imag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807" y="1013620"/>
            <a:ext cx="1097280" cy="1097280"/>
          </a:xfrm>
          <a:prstGeom prst="rect">
            <a:avLst/>
          </a:prstGeom>
        </p:spPr>
      </p:pic>
      <p:pic>
        <p:nvPicPr>
          <p:cNvPr id="8" name="Imag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492" y="1120390"/>
            <a:ext cx="1018471" cy="1016776"/>
          </a:xfrm>
          <a:prstGeom prst="rect">
            <a:avLst/>
          </a:prstGeom>
        </p:spPr>
      </p:pic>
      <p:grpSp>
        <p:nvGrpSpPr>
          <p:cNvPr id="9" name="Grouper 5"/>
          <p:cNvGrpSpPr/>
          <p:nvPr/>
        </p:nvGrpSpPr>
        <p:grpSpPr>
          <a:xfrm>
            <a:off x="7179439" y="1131418"/>
            <a:ext cx="1524313" cy="1114664"/>
            <a:chOff x="228305" y="1650403"/>
            <a:chExt cx="2724925" cy="2091761"/>
          </a:xfrm>
        </p:grpSpPr>
        <p:pic>
          <p:nvPicPr>
            <p:cNvPr id="10" name="Image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4702" y="1650403"/>
              <a:ext cx="1768528" cy="1856520"/>
            </a:xfrm>
            <a:prstGeom prst="rect">
              <a:avLst/>
            </a:prstGeom>
          </p:spPr>
        </p:pic>
        <p:pic>
          <p:nvPicPr>
            <p:cNvPr id="11" name="Image 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305" y="1837656"/>
              <a:ext cx="1814242" cy="1904508"/>
            </a:xfrm>
            <a:prstGeom prst="rect">
              <a:avLst/>
            </a:prstGeom>
          </p:spPr>
        </p:pic>
      </p:grpSp>
      <p:sp>
        <p:nvSpPr>
          <p:cNvPr id="12" name="Text Box 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97072" y="2083069"/>
            <a:ext cx="2239736" cy="202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400" b="1" dirty="0">
                <a:solidFill>
                  <a:schemeClr val="accent3"/>
                </a:solidFill>
                <a:latin typeface="Trebuchet MS" pitchFamily="34" charset="0"/>
              </a:rPr>
              <a:t>AP1101</a:t>
            </a:r>
            <a:br>
              <a:rPr lang="en-US" sz="1400" b="1" dirty="0">
                <a:solidFill>
                  <a:schemeClr val="accent3"/>
                </a:solidFill>
                <a:latin typeface="Trebuchet MS" pitchFamily="34" charset="0"/>
              </a:rPr>
            </a:br>
            <a:r>
              <a:rPr lang="en-US" sz="1200" b="1" dirty="0">
                <a:solidFill>
                  <a:schemeClr val="accent3"/>
                </a:solidFill>
                <a:latin typeface="Trebuchet MS" pitchFamily="34" charset="0"/>
              </a:rPr>
              <a:t>802.11ac: Wave 1</a:t>
            </a:r>
            <a:br>
              <a:rPr lang="en-US" sz="1100" dirty="0"/>
            </a:br>
            <a:r>
              <a:rPr lang="en-US" sz="1100" dirty="0">
                <a:latin typeface="+mn-lt"/>
              </a:rPr>
              <a:t>2 radios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latin typeface="+mn-lt"/>
              </a:rPr>
              <a:t>2x2:2SS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latin typeface="+mn-lt"/>
                <a:ea typeface="MS PGothic" pitchFamily="34" charset="-128"/>
                <a:cs typeface="Tahoma" pitchFamily="34" charset="0"/>
              </a:rPr>
              <a:t>1.2 </a:t>
            </a:r>
            <a:r>
              <a:rPr lang="en-US" sz="1100" dirty="0" err="1">
                <a:latin typeface="+mn-lt"/>
                <a:ea typeface="MS PGothic" pitchFamily="34" charset="-128"/>
                <a:cs typeface="Tahoma" pitchFamily="34" charset="0"/>
              </a:rPr>
              <a:t>Gbps</a:t>
            </a:r>
            <a:r>
              <a:rPr lang="en-US" sz="1100" dirty="0">
                <a:latin typeface="+mn-lt"/>
                <a:ea typeface="MS PGothic" pitchFamily="34" charset="-128"/>
                <a:cs typeface="Tahoma" pitchFamily="34" charset="0"/>
              </a:rPr>
              <a:t> throughput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latin typeface="+mn-lt"/>
                <a:ea typeface="MS PGothic" pitchFamily="34" charset="-128"/>
                <a:cs typeface="Tahoma" pitchFamily="34" charset="0"/>
              </a:rPr>
              <a:t>No BLE</a:t>
            </a:r>
            <a:endParaRPr lang="en-US" sz="1100" dirty="0">
              <a:latin typeface="+mn-lt"/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latin typeface="+mn-lt"/>
              </a:rPr>
              <a:t>1 GE port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latin typeface="+mn-lt"/>
              </a:rPr>
              <a:t>128 client devices per AP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latin typeface="+mn-lt"/>
              </a:rPr>
              <a:t>10 W (802.3af PoE or DC)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100" dirty="0">
                <a:solidFill>
                  <a:srgbClr val="000000"/>
                </a:solidFill>
              </a:rPr>
              <a:t>Operating Temp: </a:t>
            </a:r>
            <a:r>
              <a:rPr lang="en-US" sz="1100" dirty="0"/>
              <a:t>0°C to 45°C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2033629" y="2091929"/>
            <a:ext cx="2363560" cy="2420930"/>
          </a:xfrm>
          <a:prstGeom prst="rect">
            <a:avLst/>
          </a:prstGeom>
        </p:spPr>
        <p:txBody>
          <a:bodyPr lIns="68579" tIns="34289" rIns="68579" bIns="34289"/>
          <a:lstStyle/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400" b="1" dirty="0">
                <a:solidFill>
                  <a:schemeClr val="accent3"/>
                </a:solidFill>
                <a:latin typeface="Trebuchet MS" pitchFamily="34" charset="0"/>
              </a:rPr>
              <a:t>AP1221/AP1222</a:t>
            </a:r>
            <a:br>
              <a:rPr lang="en-US" sz="1200" b="1" dirty="0">
                <a:solidFill>
                  <a:schemeClr val="accent3"/>
                </a:solidFill>
                <a:latin typeface="Trebuchet MS" pitchFamily="34" charset="0"/>
              </a:rPr>
            </a:br>
            <a:r>
              <a:rPr lang="en-US" sz="1200" b="1" dirty="0">
                <a:solidFill>
                  <a:schemeClr val="accent3"/>
                </a:solidFill>
                <a:latin typeface="Trebuchet MS" pitchFamily="34" charset="0"/>
              </a:rPr>
              <a:t>802.11ac Wave 2</a:t>
            </a:r>
            <a:br>
              <a:rPr lang="en-US" sz="1100" dirty="0"/>
            </a:br>
            <a:r>
              <a:rPr lang="en-US" sz="1100" dirty="0">
                <a:latin typeface="+mn-lt"/>
              </a:rPr>
              <a:t>2 radios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2×2:2 @ 2.4GHz, 4x4:4 @ 5GHz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2.2+ Gbps throughput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Optional USB BLE radio dongle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1 GE Port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512 client devices per AP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/>
              <a:t>&lt;24W (802.3at 2pair PoE or DC)</a:t>
            </a:r>
            <a:endParaRPr lang="en-US" sz="1100" kern="0" dirty="0"/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/>
              <a:t>Operating Temp: 0°C to 45°C </a:t>
            </a:r>
            <a:br>
              <a:rPr lang="en-US" sz="1200" kern="0" dirty="0"/>
            </a:br>
            <a:endParaRPr lang="en-US" sz="1200" kern="0" dirty="0"/>
          </a:p>
        </p:txBody>
      </p:sp>
      <p:sp>
        <p:nvSpPr>
          <p:cNvPr id="14" name="Content Placeholder 1"/>
          <p:cNvSpPr txBox="1">
            <a:spLocks/>
          </p:cNvSpPr>
          <p:nvPr/>
        </p:nvSpPr>
        <p:spPr>
          <a:xfrm>
            <a:off x="4308992" y="2097881"/>
            <a:ext cx="2598853" cy="2420930"/>
          </a:xfrm>
          <a:prstGeom prst="rect">
            <a:avLst/>
          </a:prstGeom>
        </p:spPr>
        <p:txBody>
          <a:bodyPr lIns="68579" tIns="34289" rIns="68579" bIns="34289"/>
          <a:lstStyle/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400" b="1" dirty="0">
                <a:solidFill>
                  <a:schemeClr val="accent3"/>
                </a:solidFill>
                <a:latin typeface="Trebuchet MS" pitchFamily="34" charset="0"/>
              </a:rPr>
              <a:t>AP1231/AP1232</a:t>
            </a:r>
            <a:br>
              <a:rPr lang="en-US" sz="1400" b="1" dirty="0">
                <a:solidFill>
                  <a:schemeClr val="accent3"/>
                </a:solidFill>
                <a:latin typeface="Trebuchet MS" pitchFamily="34" charset="0"/>
              </a:rPr>
            </a:br>
            <a:r>
              <a:rPr lang="en-US" sz="1200" b="1" dirty="0">
                <a:solidFill>
                  <a:schemeClr val="accent3"/>
                </a:solidFill>
                <a:latin typeface="Trebuchet MS" pitchFamily="34" charset="0"/>
              </a:rPr>
              <a:t>802.11ac Wave 2</a:t>
            </a:r>
            <a:br>
              <a:rPr lang="en-US" sz="1100" b="1" dirty="0"/>
            </a:br>
            <a:r>
              <a:rPr lang="en-US" sz="1100" dirty="0">
                <a:latin typeface="+mn-lt"/>
              </a:rPr>
              <a:t>3 radios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4×4:4 @ </a:t>
            </a:r>
            <a:r>
              <a:rPr lang="en-US" sz="1100" kern="100" dirty="0">
                <a:latin typeface="Trebuchet MS"/>
                <a:ea typeface="Microsoft YaHei"/>
                <a:cs typeface="Tahoma"/>
              </a:rPr>
              <a:t>2.4GHz</a:t>
            </a:r>
            <a:r>
              <a:rPr lang="en-US" sz="1100" dirty="0">
                <a:latin typeface="+mn-lt"/>
              </a:rPr>
              <a:t>, dual 4x4:4 @ 5GHz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+mn-lt"/>
              </a:rPr>
              <a:t>4.2+ Gbps throughput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>
                <a:latin typeface="+mn-lt"/>
              </a:rPr>
              <a:t>I</a:t>
            </a:r>
            <a:r>
              <a:rPr lang="en-US" sz="1100" kern="0" dirty="0"/>
              <a:t>ntegrated BLE radio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/>
              <a:t>1xGbE + 1x2.5GbE network interfaces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/>
              <a:t>768 client devices per AP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/>
              <a:t>36W (802.3at 4pair or DC)</a:t>
            </a:r>
          </a:p>
          <a:p>
            <a:pPr marL="96441" indent="-96441"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/>
              <a:t>Operating Temp: 0°C to 40°C </a:t>
            </a:r>
            <a:br>
              <a:rPr lang="en-US" sz="1200" kern="0" dirty="0"/>
            </a:br>
            <a:endParaRPr lang="en-US" sz="1200" kern="0" dirty="0"/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6779407" y="2097881"/>
            <a:ext cx="2309000" cy="2321325"/>
          </a:xfrm>
          <a:prstGeom prst="rect">
            <a:avLst/>
          </a:prstGeom>
        </p:spPr>
        <p:txBody>
          <a:bodyPr lIns="0" tIns="34289" rIns="0" bIns="34289"/>
          <a:lstStyle/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400" b="1" dirty="0">
                <a:solidFill>
                  <a:schemeClr val="accent3"/>
                </a:solidFill>
                <a:latin typeface="Trebuchet MS" charset="0"/>
                <a:ea typeface="Trebuchet MS" charset="0"/>
                <a:cs typeface="Trebuchet MS" charset="0"/>
              </a:rPr>
              <a:t>AP1251</a:t>
            </a:r>
            <a:br>
              <a:rPr lang="en-US" sz="1400" b="1" dirty="0">
                <a:solidFill>
                  <a:schemeClr val="accent3"/>
                </a:solidFill>
                <a:latin typeface="Trebuchet MS" charset="0"/>
                <a:ea typeface="Trebuchet MS" charset="0"/>
                <a:cs typeface="Trebuchet MS" charset="0"/>
              </a:rPr>
            </a:br>
            <a:r>
              <a:rPr lang="en-US" sz="1200" b="1" dirty="0">
                <a:solidFill>
                  <a:schemeClr val="accent3"/>
                </a:solidFill>
                <a:latin typeface="Trebuchet MS" charset="0"/>
                <a:ea typeface="Trebuchet MS" charset="0"/>
                <a:cs typeface="Trebuchet MS" charset="0"/>
              </a:rPr>
              <a:t>802.11ac Wave 2</a:t>
            </a:r>
            <a:br>
              <a:rPr lang="en-US" sz="1100" b="1" dirty="0">
                <a:latin typeface="Trebuchet MS" charset="0"/>
                <a:ea typeface="Trebuchet MS" charset="0"/>
                <a:cs typeface="Trebuchet MS" charset="0"/>
              </a:rPr>
            </a:br>
            <a:r>
              <a:rPr lang="en-US" sz="1100" dirty="0">
                <a:latin typeface="Trebuchet MS" charset="0"/>
                <a:ea typeface="Trebuchet MS" charset="0"/>
                <a:cs typeface="Trebuchet MS" charset="0"/>
              </a:rPr>
              <a:t>2 radios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Trebuchet MS" charset="0"/>
                <a:ea typeface="Trebuchet MS" charset="0"/>
                <a:cs typeface="Trebuchet MS" charset="0"/>
              </a:rPr>
              <a:t>2×2:2 @ 2.4GHz, 2x2:2 @ 5GHz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Trebuchet MS" charset="0"/>
                <a:ea typeface="Trebuchet MS" charset="0"/>
                <a:cs typeface="Trebuchet MS" charset="0"/>
              </a:rPr>
              <a:t>1.2 </a:t>
            </a:r>
            <a:r>
              <a:rPr lang="en-US" sz="1100" dirty="0" err="1">
                <a:latin typeface="Trebuchet MS" charset="0"/>
                <a:ea typeface="Trebuchet MS" charset="0"/>
                <a:cs typeface="Trebuchet MS" charset="0"/>
              </a:rPr>
              <a:t>Gbps</a:t>
            </a:r>
            <a:r>
              <a:rPr lang="en-US" sz="1100" dirty="0">
                <a:latin typeface="Trebuchet MS" charset="0"/>
                <a:ea typeface="Trebuchet MS" charset="0"/>
                <a:cs typeface="Trebuchet MS" charset="0"/>
              </a:rPr>
              <a:t> throughput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Trebuchet MS" charset="0"/>
                <a:ea typeface="Trebuchet MS" charset="0"/>
                <a:cs typeface="Trebuchet MS" charset="0"/>
              </a:rPr>
              <a:t>No BLE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>
                <a:latin typeface="Trebuchet MS" charset="0"/>
                <a:ea typeface="Trebuchet MS" charset="0"/>
                <a:cs typeface="Trebuchet MS" charset="0"/>
              </a:rPr>
              <a:t>2xGbE network interfaces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>
                <a:latin typeface="Trebuchet MS" charset="0"/>
                <a:ea typeface="Trebuchet MS" charset="0"/>
                <a:cs typeface="Trebuchet MS" charset="0"/>
              </a:rPr>
              <a:t>512 client devices per AP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dirty="0">
                <a:latin typeface="Trebuchet MS" charset="0"/>
                <a:ea typeface="Trebuchet MS" charset="0"/>
                <a:cs typeface="Trebuchet MS" charset="0"/>
              </a:rPr>
              <a:t>&lt;12W (802.3af PoE)</a:t>
            </a:r>
          </a:p>
          <a:p>
            <a:pPr algn="ctr" defTabSz="514350" eaLnBrk="0" hangingPunct="0">
              <a:spcBef>
                <a:spcPts val="100"/>
              </a:spcBef>
              <a:spcAft>
                <a:spcPts val="100"/>
              </a:spcAft>
              <a:buClr>
                <a:srgbClr val="404040"/>
              </a:buClr>
              <a:defRPr/>
            </a:pPr>
            <a:r>
              <a:rPr lang="en-US" sz="1100" kern="0" dirty="0">
                <a:latin typeface="Trebuchet MS" charset="0"/>
                <a:ea typeface="Trebuchet MS" charset="0"/>
                <a:cs typeface="Trebuchet MS" charset="0"/>
              </a:rPr>
              <a:t>Operating temperature : -40 to 65°C</a:t>
            </a:r>
            <a:endParaRPr lang="en-US" sz="1200" kern="0" dirty="0">
              <a:latin typeface="Trebuchet MS" charset="0"/>
              <a:ea typeface="Trebuchet MS" charset="0"/>
              <a:cs typeface="Trebuchet MS" charset="0"/>
            </a:endParaRPr>
          </a:p>
        </p:txBody>
      </p:sp>
      <p:pic>
        <p:nvPicPr>
          <p:cNvPr id="23" name="Imag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887" y="1068546"/>
            <a:ext cx="1095457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306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ítulo 22">
            <a:extLst>
              <a:ext uri="{FF2B5EF4-FFF2-40B4-BE49-F238E27FC236}">
                <a16:creationId xmlns:a16="http://schemas.microsoft.com/office/drawing/2014/main" id="{2A56C1B1-70C7-42F9-9A60-5CF1605DE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UPAM – Unified Policy Authentication Manager</a:t>
            </a:r>
          </a:p>
        </p:txBody>
      </p:sp>
      <p:sp>
        <p:nvSpPr>
          <p:cNvPr id="3" name="Oval 10"/>
          <p:cNvSpPr>
            <a:spLocks noChangeArrowheads="1"/>
          </p:cNvSpPr>
          <p:nvPr/>
        </p:nvSpPr>
        <p:spPr bwMode="auto">
          <a:xfrm>
            <a:off x="669817" y="3089533"/>
            <a:ext cx="786958" cy="754917"/>
          </a:xfrm>
          <a:prstGeom prst="ellipse">
            <a:avLst/>
          </a:prstGeom>
          <a:noFill/>
          <a:ln w="28575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4" name="Oval 11"/>
          <p:cNvSpPr>
            <a:spLocks noChangeArrowheads="1"/>
          </p:cNvSpPr>
          <p:nvPr/>
        </p:nvSpPr>
        <p:spPr bwMode="auto">
          <a:xfrm>
            <a:off x="1397918" y="1909307"/>
            <a:ext cx="813614" cy="723014"/>
          </a:xfrm>
          <a:prstGeom prst="ellipse">
            <a:avLst/>
          </a:prstGeom>
          <a:noFill/>
          <a:ln w="28575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1978186" y="1558447"/>
            <a:ext cx="1078924" cy="108450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Trebuchet MS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977614" y="1782420"/>
            <a:ext cx="1084556" cy="57323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50" b="1" dirty="0">
                <a:solidFill>
                  <a:srgbClr val="FFFFFF"/>
                </a:solidFill>
                <a:latin typeface="Trebuchet MS" pitchFamily="34" charset="0"/>
                <a:cs typeface="Arial" pitchFamily="34" charset="0"/>
              </a:rPr>
              <a:t>Guest </a:t>
            </a:r>
          </a:p>
          <a:p>
            <a:pPr algn="ctr">
              <a:defRPr/>
            </a:pPr>
            <a:r>
              <a:rPr lang="en-US" sz="1250" b="1" dirty="0">
                <a:solidFill>
                  <a:srgbClr val="FFFFFF"/>
                </a:solidFill>
                <a:latin typeface="Trebuchet MS" pitchFamily="34" charset="0"/>
                <a:cs typeface="Arial" pitchFamily="34" charset="0"/>
              </a:rPr>
              <a:t>Strategy</a:t>
            </a:r>
          </a:p>
        </p:txBody>
      </p:sp>
      <p:sp>
        <p:nvSpPr>
          <p:cNvPr id="7" name="Oval 9"/>
          <p:cNvSpPr>
            <a:spLocks noChangeArrowheads="1"/>
          </p:cNvSpPr>
          <p:nvPr/>
        </p:nvSpPr>
        <p:spPr bwMode="auto">
          <a:xfrm>
            <a:off x="678352" y="1462759"/>
            <a:ext cx="812800" cy="711822"/>
          </a:xfrm>
          <a:prstGeom prst="ellipse">
            <a:avLst/>
          </a:prstGeom>
          <a:noFill/>
          <a:ln w="28575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8" name="TextBox 66"/>
          <p:cNvSpPr txBox="1">
            <a:spLocks noChangeArrowheads="1"/>
          </p:cNvSpPr>
          <p:nvPr/>
        </p:nvSpPr>
        <p:spPr bwMode="auto">
          <a:xfrm>
            <a:off x="2126475" y="697040"/>
            <a:ext cx="5299323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dirty="0">
                <a:solidFill>
                  <a:srgbClr val="404040"/>
                </a:solidFill>
                <a:latin typeface="Trebuchet MS" pitchFamily="34" charset="0"/>
                <a:cs typeface="Arial" pitchFamily="34" charset="0"/>
              </a:rPr>
              <a:t>External Radius, Local DB, AD/LDAP (Role Mapping)</a:t>
            </a:r>
          </a:p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dirty="0">
                <a:solidFill>
                  <a:srgbClr val="404040"/>
                </a:solidFill>
                <a:latin typeface="Trebuchet MS" pitchFamily="34" charset="0"/>
                <a:cs typeface="Arial" pitchFamily="34" charset="0"/>
              </a:rPr>
              <a:t>Wired/Wireless</a:t>
            </a:r>
          </a:p>
        </p:txBody>
      </p:sp>
      <p:sp>
        <p:nvSpPr>
          <p:cNvPr id="9" name="Oval 8"/>
          <p:cNvSpPr/>
          <p:nvPr/>
        </p:nvSpPr>
        <p:spPr>
          <a:xfrm>
            <a:off x="921835" y="697211"/>
            <a:ext cx="1204640" cy="11589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latin typeface="Trebuchet MS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53531" y="733142"/>
            <a:ext cx="1339752" cy="86177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endParaRPr lang="en-US" sz="1250" b="1" dirty="0">
              <a:solidFill>
                <a:schemeClr val="bg1"/>
              </a:solidFill>
              <a:latin typeface="Trebuchet MS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n-US" sz="1250" b="1" dirty="0">
                <a:solidFill>
                  <a:schemeClr val="bg1"/>
                </a:solidFill>
                <a:latin typeface="Trebuchet MS" pitchFamily="34" charset="0"/>
                <a:cs typeface="Arial" pitchFamily="34" charset="0"/>
              </a:rPr>
              <a:t>Authentication</a:t>
            </a:r>
          </a:p>
          <a:p>
            <a:pPr algn="ctr">
              <a:defRPr/>
            </a:pPr>
            <a:r>
              <a:rPr lang="en-US" sz="1250" b="1" dirty="0">
                <a:solidFill>
                  <a:schemeClr val="bg1"/>
                </a:solidFill>
                <a:latin typeface="Trebuchet MS" pitchFamily="34" charset="0"/>
                <a:cs typeface="Arial" pitchFamily="34" charset="0"/>
              </a:rPr>
              <a:t>Access</a:t>
            </a:r>
          </a:p>
        </p:txBody>
      </p:sp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1414095" y="2717220"/>
            <a:ext cx="790071" cy="733816"/>
          </a:xfrm>
          <a:prstGeom prst="ellipse">
            <a:avLst/>
          </a:prstGeom>
          <a:noFill/>
          <a:ln w="28575" algn="ctr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Trebuchet MS" pitchFamily="34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1951642" y="2715687"/>
            <a:ext cx="1134995" cy="11276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Trebuchet MS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977620" y="2995262"/>
            <a:ext cx="1105818" cy="57323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50" b="1" dirty="0">
                <a:solidFill>
                  <a:srgbClr val="FFFFFF"/>
                </a:solidFill>
                <a:latin typeface="Trebuchet MS" pitchFamily="34" charset="0"/>
                <a:cs typeface="Arial" pitchFamily="34" charset="0"/>
              </a:rPr>
              <a:t>BYOD</a:t>
            </a:r>
          </a:p>
          <a:p>
            <a:pPr algn="ctr">
              <a:defRPr/>
            </a:pPr>
            <a:r>
              <a:rPr lang="en-US" sz="1250" b="1" dirty="0">
                <a:solidFill>
                  <a:srgbClr val="FFFFFF"/>
                </a:solidFill>
                <a:latin typeface="Trebuchet MS" pitchFamily="34" charset="0"/>
                <a:cs typeface="Arial" pitchFamily="34" charset="0"/>
              </a:rPr>
              <a:t>Strategy</a:t>
            </a:r>
            <a:endParaRPr lang="en-US" sz="1250" b="1" spc="-150" dirty="0">
              <a:solidFill>
                <a:srgbClr val="FFFFFF"/>
              </a:solidFill>
              <a:latin typeface="Trebuchet MS" pitchFamily="34" charset="0"/>
              <a:cs typeface="Arial" pitchFamily="34" charset="0"/>
            </a:endParaRPr>
          </a:p>
        </p:txBody>
      </p:sp>
      <p:grpSp>
        <p:nvGrpSpPr>
          <p:cNvPr id="14" name="Grouper 16413"/>
          <p:cNvGrpSpPr>
            <a:grpSpLocks/>
          </p:cNvGrpSpPr>
          <p:nvPr/>
        </p:nvGrpSpPr>
        <p:grpSpPr bwMode="auto">
          <a:xfrm>
            <a:off x="402336" y="1994381"/>
            <a:ext cx="1288209" cy="1233378"/>
            <a:chOff x="4616059" y="2587048"/>
            <a:chExt cx="1635125" cy="1633537"/>
          </a:xfrm>
        </p:grpSpPr>
        <p:sp>
          <p:nvSpPr>
            <p:cNvPr id="15" name="Oval 14"/>
            <p:cNvSpPr/>
            <p:nvPr/>
          </p:nvSpPr>
          <p:spPr>
            <a:xfrm>
              <a:off x="4616059" y="2587048"/>
              <a:ext cx="1635125" cy="1633537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endParaRPr lang="en-US" sz="1200" b="1">
                <a:solidFill>
                  <a:srgbClr val="FFFFFF"/>
                </a:solidFill>
                <a:latin typeface="Trebuchet MS" pitchFamily="34" charset="0"/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624502" y="3118764"/>
              <a:ext cx="153511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Trebuchet MS" pitchFamily="34" charset="0"/>
                  <a:cs typeface="Arial" pitchFamily="34" charset="0"/>
                </a:rPr>
                <a:t>UPAM</a:t>
              </a:r>
            </a:p>
          </p:txBody>
        </p:sp>
      </p:grpSp>
      <p:sp>
        <p:nvSpPr>
          <p:cNvPr id="17" name="Oval 8"/>
          <p:cNvSpPr/>
          <p:nvPr/>
        </p:nvSpPr>
        <p:spPr>
          <a:xfrm>
            <a:off x="1052588" y="3584509"/>
            <a:ext cx="1127052" cy="107893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Trebuchet MS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12470" y="3966717"/>
            <a:ext cx="1014005" cy="28416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250" b="1" dirty="0">
                <a:solidFill>
                  <a:srgbClr val="FFFFFF"/>
                </a:solidFill>
                <a:latin typeface="Trebuchet MS" pitchFamily="34" charset="0"/>
                <a:cs typeface="Arial" pitchFamily="34" charset="0"/>
              </a:rPr>
              <a:t>Portal</a:t>
            </a:r>
          </a:p>
        </p:txBody>
      </p:sp>
      <p:sp>
        <p:nvSpPr>
          <p:cNvPr id="19" name="TextBox 66"/>
          <p:cNvSpPr txBox="1">
            <a:spLocks noChangeArrowheads="1"/>
          </p:cNvSpPr>
          <p:nvPr/>
        </p:nvSpPr>
        <p:spPr bwMode="auto">
          <a:xfrm>
            <a:off x="3146934" y="1549720"/>
            <a:ext cx="5327698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Account Creation, Notification (SMS, Email, WEB)</a:t>
            </a:r>
          </a:p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Self-Registration, Employee Sponsor</a:t>
            </a:r>
          </a:p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Basic/ Premium Servicing</a:t>
            </a:r>
          </a:p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Login using </a:t>
            </a:r>
            <a:r>
              <a:rPr lang="en-US" sz="1400" kern="0" dirty="0" err="1">
                <a:cs typeface="Trebuchet MS" panose="020B0502040204020203" pitchFamily="34" charset="0"/>
              </a:rPr>
              <a:t>Uname</a:t>
            </a:r>
            <a:r>
              <a:rPr lang="en-US" sz="1400" kern="0" dirty="0">
                <a:cs typeface="Trebuchet MS" panose="020B0502040204020203" pitchFamily="34" charset="0"/>
              </a:rPr>
              <a:t>/</a:t>
            </a:r>
            <a:r>
              <a:rPr lang="en-US" sz="1400" kern="0" dirty="0" err="1">
                <a:cs typeface="Trebuchet MS" panose="020B0502040204020203" pitchFamily="34" charset="0"/>
              </a:rPr>
              <a:t>Passwd</a:t>
            </a:r>
            <a:r>
              <a:rPr lang="en-US" sz="1400" kern="0" dirty="0">
                <a:cs typeface="Trebuchet MS" panose="020B0502040204020203" pitchFamily="34" charset="0"/>
              </a:rPr>
              <a:t>, Access-Code, Social Account</a:t>
            </a:r>
          </a:p>
        </p:txBody>
      </p:sp>
      <p:sp>
        <p:nvSpPr>
          <p:cNvPr id="20" name="TextBox 66"/>
          <p:cNvSpPr txBox="1">
            <a:spLocks noChangeArrowheads="1"/>
          </p:cNvSpPr>
          <p:nvPr/>
        </p:nvSpPr>
        <p:spPr bwMode="auto">
          <a:xfrm>
            <a:off x="3161108" y="2947889"/>
            <a:ext cx="397730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Session &amp; Device Control </a:t>
            </a:r>
          </a:p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Device Fingerprinting (OS, Type, etc.) </a:t>
            </a:r>
          </a:p>
        </p:txBody>
      </p:sp>
      <p:sp>
        <p:nvSpPr>
          <p:cNvPr id="21" name="TextBox 66"/>
          <p:cNvSpPr txBox="1">
            <a:spLocks noChangeArrowheads="1"/>
          </p:cNvSpPr>
          <p:nvPr/>
        </p:nvSpPr>
        <p:spPr bwMode="auto">
          <a:xfrm>
            <a:off x="2196595" y="3878952"/>
            <a:ext cx="397730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Customizable Pages  Guest Access/ BYOD</a:t>
            </a:r>
          </a:p>
          <a:p>
            <a:pPr marL="180975" indent="-180975">
              <a:spcBef>
                <a:spcPts val="600"/>
              </a:spcBef>
              <a:spcAft>
                <a:spcPts val="0"/>
              </a:spcAft>
              <a:buClr>
                <a:srgbClr val="404040"/>
              </a:buClr>
              <a:buSzPct val="120000"/>
              <a:buBlip>
                <a:blip r:embed="rId2"/>
              </a:buBlip>
            </a:pPr>
            <a:r>
              <a:rPr lang="en-US" sz="1400" kern="0" dirty="0">
                <a:cs typeface="Trebuchet MS" panose="020B0502040204020203" pitchFamily="34" charset="0"/>
              </a:rPr>
              <a:t>Success Redirect URL</a:t>
            </a:r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ABC9198B-F652-44C2-B2A0-3964174A8A1D}"/>
              </a:ext>
            </a:extLst>
          </p:cNvPr>
          <p:cNvSpPr/>
          <p:nvPr/>
        </p:nvSpPr>
        <p:spPr>
          <a:xfrm>
            <a:off x="2126475" y="566738"/>
            <a:ext cx="5851455" cy="803121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18214356-F5B2-4648-AB01-C4D0FE5E7FB1}"/>
              </a:ext>
            </a:extLst>
          </p:cNvPr>
          <p:cNvSpPr txBox="1"/>
          <p:nvPr/>
        </p:nvSpPr>
        <p:spPr>
          <a:xfrm>
            <a:off x="6775620" y="1009007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b="1" dirty="0">
                <a:solidFill>
                  <a:schemeClr val="accent3"/>
                </a:solidFill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rPr>
              <a:t>FREE !!!</a:t>
            </a:r>
          </a:p>
        </p:txBody>
      </p:sp>
    </p:spTree>
    <p:extLst>
      <p:ext uri="{BB962C8B-B14F-4D97-AF65-F5344CB8AC3E}">
        <p14:creationId xmlns:p14="http://schemas.microsoft.com/office/powerpoint/2010/main" val="311165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2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3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" presetClass="entr" presetSubtype="5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4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4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8" grpId="0"/>
      <p:bldP spid="9" grpId="0" animBg="1"/>
      <p:bldP spid="10" grpId="0"/>
      <p:bldP spid="12" grpId="0" animBg="1"/>
      <p:bldP spid="13" grpId="0"/>
      <p:bldP spid="17" grpId="0" animBg="1"/>
      <p:bldP spid="18" grpId="0"/>
      <p:bldP spid="19" grpId="0"/>
      <p:bldP spid="20" grpId="0"/>
      <p:bldP spid="2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22ADCAF4-FB81-431F-9818-1B368C7CC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AM and External Sources</a:t>
            </a:r>
          </a:p>
        </p:txBody>
      </p:sp>
      <p:pic>
        <p:nvPicPr>
          <p:cNvPr id="5" name="Image 23">
            <a:extLst>
              <a:ext uri="{FF2B5EF4-FFF2-40B4-BE49-F238E27FC236}">
                <a16:creationId xmlns:a16="http://schemas.microsoft.com/office/drawing/2014/main" id="{25A8D784-CB7E-4670-8900-FC58AABC92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863021" y="2730380"/>
            <a:ext cx="683791" cy="502946"/>
          </a:xfrm>
          <a:prstGeom prst="rect">
            <a:avLst/>
          </a:prstGeom>
        </p:spPr>
      </p:pic>
      <p:pic>
        <p:nvPicPr>
          <p:cNvPr id="6" name="Image 25">
            <a:extLst>
              <a:ext uri="{FF2B5EF4-FFF2-40B4-BE49-F238E27FC236}">
                <a16:creationId xmlns:a16="http://schemas.microsoft.com/office/drawing/2014/main" id="{C8A258EF-7CB5-4C23-9D1C-0C71C5F26E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827663" y="1856469"/>
            <a:ext cx="719149" cy="356750"/>
          </a:xfrm>
          <a:prstGeom prst="rect">
            <a:avLst/>
          </a:prstGeom>
        </p:spPr>
      </p:pic>
      <p:grpSp>
        <p:nvGrpSpPr>
          <p:cNvPr id="7" name="Group 130">
            <a:extLst>
              <a:ext uri="{FF2B5EF4-FFF2-40B4-BE49-F238E27FC236}">
                <a16:creationId xmlns:a16="http://schemas.microsoft.com/office/drawing/2014/main" id="{E7DA92BA-D041-43B9-BA46-B840C29BA9D0}"/>
              </a:ext>
            </a:extLst>
          </p:cNvPr>
          <p:cNvGrpSpPr/>
          <p:nvPr/>
        </p:nvGrpSpPr>
        <p:grpSpPr>
          <a:xfrm>
            <a:off x="3731691" y="2308753"/>
            <a:ext cx="571500" cy="493713"/>
            <a:chOff x="8301396" y="2165932"/>
            <a:chExt cx="571500" cy="493713"/>
          </a:xfrm>
          <a:solidFill>
            <a:schemeClr val="accent3"/>
          </a:solidFill>
        </p:grpSpPr>
        <p:sp>
          <p:nvSpPr>
            <p:cNvPr id="8" name="Oval 126">
              <a:extLst>
                <a:ext uri="{FF2B5EF4-FFF2-40B4-BE49-F238E27FC236}">
                  <a16:creationId xmlns:a16="http://schemas.microsoft.com/office/drawing/2014/main" id="{280B1481-1A4D-42F3-98CB-06F73C091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2033" y="2188157"/>
              <a:ext cx="52388" cy="523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+mn-lt"/>
                <a:ea typeface="ＭＳ Ｐゴシック" charset="-128"/>
              </a:endParaRPr>
            </a:p>
          </p:txBody>
        </p:sp>
        <p:sp>
          <p:nvSpPr>
            <p:cNvPr id="9" name="Freeform 127">
              <a:extLst>
                <a:ext uri="{FF2B5EF4-FFF2-40B4-BE49-F238E27FC236}">
                  <a16:creationId xmlns:a16="http://schemas.microsoft.com/office/drawing/2014/main" id="{E72BE998-9A53-4094-B4F4-6C63B1459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01396" y="2165932"/>
              <a:ext cx="571500" cy="493713"/>
            </a:xfrm>
            <a:custGeom>
              <a:avLst/>
              <a:gdLst/>
              <a:ahLst/>
              <a:cxnLst>
                <a:cxn ang="0">
                  <a:pos x="606" y="102"/>
                </a:cxn>
                <a:cxn ang="0">
                  <a:pos x="606" y="430"/>
                </a:cxn>
                <a:cxn ang="0">
                  <a:pos x="605" y="430"/>
                </a:cxn>
                <a:cxn ang="0">
                  <a:pos x="303" y="524"/>
                </a:cxn>
                <a:cxn ang="0">
                  <a:pos x="1" y="430"/>
                </a:cxn>
                <a:cxn ang="0">
                  <a:pos x="0" y="430"/>
                </a:cxn>
                <a:cxn ang="0">
                  <a:pos x="0" y="102"/>
                </a:cxn>
                <a:cxn ang="0">
                  <a:pos x="48" y="121"/>
                </a:cxn>
                <a:cxn ang="0">
                  <a:pos x="121" y="48"/>
                </a:cxn>
                <a:cxn ang="0">
                  <a:pos x="116" y="22"/>
                </a:cxn>
                <a:cxn ang="0">
                  <a:pos x="303" y="0"/>
                </a:cxn>
                <a:cxn ang="0">
                  <a:pos x="606" y="102"/>
                </a:cxn>
                <a:cxn ang="0">
                  <a:pos x="302" y="340"/>
                </a:cxn>
                <a:cxn ang="0">
                  <a:pos x="582" y="256"/>
                </a:cxn>
                <a:cxn ang="0">
                  <a:pos x="580" y="242"/>
                </a:cxn>
                <a:cxn ang="0">
                  <a:pos x="566" y="244"/>
                </a:cxn>
                <a:cxn ang="0">
                  <a:pos x="302" y="320"/>
                </a:cxn>
                <a:cxn ang="0">
                  <a:pos x="37" y="245"/>
                </a:cxn>
                <a:cxn ang="0">
                  <a:pos x="37" y="245"/>
                </a:cxn>
                <a:cxn ang="0">
                  <a:pos x="23" y="244"/>
                </a:cxn>
                <a:cxn ang="0">
                  <a:pos x="21" y="258"/>
                </a:cxn>
                <a:cxn ang="0">
                  <a:pos x="302" y="340"/>
                </a:cxn>
                <a:cxn ang="0">
                  <a:pos x="302" y="233"/>
                </a:cxn>
                <a:cxn ang="0">
                  <a:pos x="582" y="149"/>
                </a:cxn>
                <a:cxn ang="0">
                  <a:pos x="580" y="135"/>
                </a:cxn>
                <a:cxn ang="0">
                  <a:pos x="566" y="137"/>
                </a:cxn>
                <a:cxn ang="0">
                  <a:pos x="302" y="213"/>
                </a:cxn>
                <a:cxn ang="0">
                  <a:pos x="37" y="138"/>
                </a:cxn>
                <a:cxn ang="0">
                  <a:pos x="37" y="138"/>
                </a:cxn>
                <a:cxn ang="0">
                  <a:pos x="23" y="136"/>
                </a:cxn>
                <a:cxn ang="0">
                  <a:pos x="21" y="150"/>
                </a:cxn>
                <a:cxn ang="0">
                  <a:pos x="302" y="233"/>
                </a:cxn>
                <a:cxn ang="0">
                  <a:pos x="302" y="444"/>
                </a:cxn>
                <a:cxn ang="0">
                  <a:pos x="582" y="360"/>
                </a:cxn>
                <a:cxn ang="0">
                  <a:pos x="580" y="346"/>
                </a:cxn>
                <a:cxn ang="0">
                  <a:pos x="566" y="348"/>
                </a:cxn>
                <a:cxn ang="0">
                  <a:pos x="302" y="424"/>
                </a:cxn>
                <a:cxn ang="0">
                  <a:pos x="37" y="349"/>
                </a:cxn>
                <a:cxn ang="0">
                  <a:pos x="37" y="349"/>
                </a:cxn>
                <a:cxn ang="0">
                  <a:pos x="23" y="348"/>
                </a:cxn>
                <a:cxn ang="0">
                  <a:pos x="21" y="362"/>
                </a:cxn>
                <a:cxn ang="0">
                  <a:pos x="302" y="444"/>
                </a:cxn>
              </a:cxnLst>
              <a:rect l="0" t="0" r="r" b="b"/>
              <a:pathLst>
                <a:path w="606" h="524">
                  <a:moveTo>
                    <a:pt x="606" y="102"/>
                  </a:moveTo>
                  <a:cubicBezTo>
                    <a:pt x="606" y="430"/>
                    <a:pt x="606" y="430"/>
                    <a:pt x="606" y="430"/>
                  </a:cubicBezTo>
                  <a:cubicBezTo>
                    <a:pt x="605" y="430"/>
                    <a:pt x="605" y="430"/>
                    <a:pt x="605" y="430"/>
                  </a:cubicBezTo>
                  <a:cubicBezTo>
                    <a:pt x="594" y="482"/>
                    <a:pt x="463" y="524"/>
                    <a:pt x="303" y="524"/>
                  </a:cubicBezTo>
                  <a:cubicBezTo>
                    <a:pt x="142" y="524"/>
                    <a:pt x="11" y="482"/>
                    <a:pt x="1" y="430"/>
                  </a:cubicBezTo>
                  <a:cubicBezTo>
                    <a:pt x="0" y="430"/>
                    <a:pt x="0" y="430"/>
                    <a:pt x="0" y="430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3" y="114"/>
                    <a:pt x="30" y="121"/>
                    <a:pt x="48" y="121"/>
                  </a:cubicBezTo>
                  <a:cubicBezTo>
                    <a:pt x="89" y="121"/>
                    <a:pt x="121" y="88"/>
                    <a:pt x="121" y="48"/>
                  </a:cubicBezTo>
                  <a:cubicBezTo>
                    <a:pt x="121" y="39"/>
                    <a:pt x="119" y="30"/>
                    <a:pt x="116" y="22"/>
                  </a:cubicBezTo>
                  <a:cubicBezTo>
                    <a:pt x="167" y="8"/>
                    <a:pt x="232" y="0"/>
                    <a:pt x="303" y="0"/>
                  </a:cubicBezTo>
                  <a:cubicBezTo>
                    <a:pt x="470" y="0"/>
                    <a:pt x="606" y="45"/>
                    <a:pt x="606" y="102"/>
                  </a:cubicBezTo>
                  <a:close/>
                  <a:moveTo>
                    <a:pt x="302" y="340"/>
                  </a:moveTo>
                  <a:cubicBezTo>
                    <a:pt x="516" y="340"/>
                    <a:pt x="579" y="260"/>
                    <a:pt x="582" y="256"/>
                  </a:cubicBezTo>
                  <a:cubicBezTo>
                    <a:pt x="585" y="252"/>
                    <a:pt x="584" y="246"/>
                    <a:pt x="580" y="242"/>
                  </a:cubicBezTo>
                  <a:cubicBezTo>
                    <a:pt x="576" y="239"/>
                    <a:pt x="569" y="240"/>
                    <a:pt x="566" y="244"/>
                  </a:cubicBezTo>
                  <a:cubicBezTo>
                    <a:pt x="565" y="245"/>
                    <a:pt x="505" y="320"/>
                    <a:pt x="302" y="320"/>
                  </a:cubicBezTo>
                  <a:cubicBezTo>
                    <a:pt x="99" y="320"/>
                    <a:pt x="37" y="246"/>
                    <a:pt x="37" y="245"/>
                  </a:cubicBezTo>
                  <a:cubicBezTo>
                    <a:pt x="37" y="245"/>
                    <a:pt x="37" y="245"/>
                    <a:pt x="37" y="245"/>
                  </a:cubicBezTo>
                  <a:cubicBezTo>
                    <a:pt x="33" y="241"/>
                    <a:pt x="27" y="240"/>
                    <a:pt x="23" y="244"/>
                  </a:cubicBezTo>
                  <a:cubicBezTo>
                    <a:pt x="18" y="247"/>
                    <a:pt x="18" y="253"/>
                    <a:pt x="21" y="258"/>
                  </a:cubicBezTo>
                  <a:cubicBezTo>
                    <a:pt x="24" y="261"/>
                    <a:pt x="88" y="340"/>
                    <a:pt x="302" y="340"/>
                  </a:cubicBezTo>
                  <a:close/>
                  <a:moveTo>
                    <a:pt x="302" y="233"/>
                  </a:moveTo>
                  <a:cubicBezTo>
                    <a:pt x="516" y="233"/>
                    <a:pt x="579" y="152"/>
                    <a:pt x="582" y="149"/>
                  </a:cubicBezTo>
                  <a:cubicBezTo>
                    <a:pt x="585" y="144"/>
                    <a:pt x="584" y="138"/>
                    <a:pt x="580" y="135"/>
                  </a:cubicBezTo>
                  <a:cubicBezTo>
                    <a:pt x="576" y="132"/>
                    <a:pt x="569" y="132"/>
                    <a:pt x="566" y="137"/>
                  </a:cubicBezTo>
                  <a:cubicBezTo>
                    <a:pt x="565" y="137"/>
                    <a:pt x="505" y="213"/>
                    <a:pt x="302" y="213"/>
                  </a:cubicBezTo>
                  <a:cubicBezTo>
                    <a:pt x="99" y="213"/>
                    <a:pt x="37" y="139"/>
                    <a:pt x="37" y="138"/>
                  </a:cubicBezTo>
                  <a:cubicBezTo>
                    <a:pt x="37" y="138"/>
                    <a:pt x="37" y="138"/>
                    <a:pt x="37" y="138"/>
                  </a:cubicBezTo>
                  <a:cubicBezTo>
                    <a:pt x="33" y="134"/>
                    <a:pt x="27" y="133"/>
                    <a:pt x="23" y="136"/>
                  </a:cubicBezTo>
                  <a:cubicBezTo>
                    <a:pt x="18" y="140"/>
                    <a:pt x="18" y="146"/>
                    <a:pt x="21" y="150"/>
                  </a:cubicBezTo>
                  <a:cubicBezTo>
                    <a:pt x="24" y="154"/>
                    <a:pt x="88" y="233"/>
                    <a:pt x="302" y="233"/>
                  </a:cubicBezTo>
                  <a:close/>
                  <a:moveTo>
                    <a:pt x="302" y="444"/>
                  </a:moveTo>
                  <a:cubicBezTo>
                    <a:pt x="516" y="444"/>
                    <a:pt x="579" y="364"/>
                    <a:pt x="582" y="360"/>
                  </a:cubicBezTo>
                  <a:cubicBezTo>
                    <a:pt x="585" y="356"/>
                    <a:pt x="584" y="350"/>
                    <a:pt x="580" y="346"/>
                  </a:cubicBezTo>
                  <a:cubicBezTo>
                    <a:pt x="576" y="343"/>
                    <a:pt x="569" y="344"/>
                    <a:pt x="566" y="348"/>
                  </a:cubicBezTo>
                  <a:cubicBezTo>
                    <a:pt x="565" y="349"/>
                    <a:pt x="505" y="424"/>
                    <a:pt x="302" y="424"/>
                  </a:cubicBezTo>
                  <a:cubicBezTo>
                    <a:pt x="99" y="424"/>
                    <a:pt x="37" y="350"/>
                    <a:pt x="37" y="349"/>
                  </a:cubicBezTo>
                  <a:cubicBezTo>
                    <a:pt x="37" y="349"/>
                    <a:pt x="37" y="349"/>
                    <a:pt x="37" y="349"/>
                  </a:cubicBezTo>
                  <a:cubicBezTo>
                    <a:pt x="33" y="345"/>
                    <a:pt x="27" y="344"/>
                    <a:pt x="23" y="348"/>
                  </a:cubicBezTo>
                  <a:cubicBezTo>
                    <a:pt x="18" y="351"/>
                    <a:pt x="18" y="357"/>
                    <a:pt x="21" y="362"/>
                  </a:cubicBezTo>
                  <a:cubicBezTo>
                    <a:pt x="24" y="365"/>
                    <a:pt x="88" y="444"/>
                    <a:pt x="302" y="4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+mn-lt"/>
                <a:ea typeface="ＭＳ Ｐゴシック" charset="-128"/>
              </a:endParaRPr>
            </a:p>
          </p:txBody>
        </p:sp>
      </p:grpSp>
      <p:sp>
        <p:nvSpPr>
          <p:cNvPr id="10" name="CuadroTexto 9">
            <a:extLst>
              <a:ext uri="{FF2B5EF4-FFF2-40B4-BE49-F238E27FC236}">
                <a16:creationId xmlns:a16="http://schemas.microsoft.com/office/drawing/2014/main" id="{F78E15A8-FC3D-408D-B542-D58CCED8BE8C}"/>
              </a:ext>
            </a:extLst>
          </p:cNvPr>
          <p:cNvSpPr txBox="1"/>
          <p:nvPr/>
        </p:nvSpPr>
        <p:spPr>
          <a:xfrm>
            <a:off x="3710690" y="2034844"/>
            <a:ext cx="5538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UPAM</a:t>
            </a:r>
          </a:p>
        </p:txBody>
      </p:sp>
      <p:sp>
        <p:nvSpPr>
          <p:cNvPr id="11" name="Freeform 145">
            <a:extLst>
              <a:ext uri="{FF2B5EF4-FFF2-40B4-BE49-F238E27FC236}">
                <a16:creationId xmlns:a16="http://schemas.microsoft.com/office/drawing/2014/main" id="{A3B53FD1-8FE4-48E3-A62F-9E33F3BC65B3}"/>
              </a:ext>
            </a:extLst>
          </p:cNvPr>
          <p:cNvSpPr>
            <a:spLocks noEditPoints="1"/>
          </p:cNvSpPr>
          <p:nvPr/>
        </p:nvSpPr>
        <p:spPr bwMode="auto">
          <a:xfrm>
            <a:off x="5311394" y="1858350"/>
            <a:ext cx="293687" cy="501650"/>
          </a:xfrm>
          <a:custGeom>
            <a:avLst/>
            <a:gdLst/>
            <a:ahLst/>
            <a:cxnLst>
              <a:cxn ang="0">
                <a:pos x="269" y="0"/>
              </a:cxn>
              <a:cxn ang="0">
                <a:pos x="102" y="0"/>
              </a:cxn>
              <a:cxn ang="0">
                <a:pos x="109" y="30"/>
              </a:cxn>
              <a:cxn ang="0">
                <a:pos x="37" y="101"/>
              </a:cxn>
              <a:cxn ang="0">
                <a:pos x="0" y="90"/>
              </a:cxn>
              <a:cxn ang="0">
                <a:pos x="0" y="482"/>
              </a:cxn>
              <a:cxn ang="0">
                <a:pos x="42" y="533"/>
              </a:cxn>
              <a:cxn ang="0">
                <a:pos x="269" y="533"/>
              </a:cxn>
              <a:cxn ang="0">
                <a:pos x="311" y="482"/>
              </a:cxn>
              <a:cxn ang="0">
                <a:pos x="311" y="51"/>
              </a:cxn>
              <a:cxn ang="0">
                <a:pos x="269" y="0"/>
              </a:cxn>
              <a:cxn ang="0">
                <a:pos x="35" y="58"/>
              </a:cxn>
              <a:cxn ang="0">
                <a:pos x="63" y="31"/>
              </a:cxn>
              <a:cxn ang="0">
                <a:pos x="35" y="3"/>
              </a:cxn>
              <a:cxn ang="0">
                <a:pos x="8" y="31"/>
              </a:cxn>
              <a:cxn ang="0">
                <a:pos x="35" y="58"/>
              </a:cxn>
            </a:cxnLst>
            <a:rect l="0" t="0" r="r" b="b"/>
            <a:pathLst>
              <a:path w="311" h="533">
                <a:moveTo>
                  <a:pt x="269" y="0"/>
                </a:moveTo>
                <a:cubicBezTo>
                  <a:pt x="102" y="0"/>
                  <a:pt x="102" y="0"/>
                  <a:pt x="102" y="0"/>
                </a:cubicBezTo>
                <a:cubicBezTo>
                  <a:pt x="106" y="9"/>
                  <a:pt x="109" y="19"/>
                  <a:pt x="109" y="30"/>
                </a:cubicBezTo>
                <a:cubicBezTo>
                  <a:pt x="109" y="69"/>
                  <a:pt x="77" y="101"/>
                  <a:pt x="37" y="101"/>
                </a:cubicBezTo>
                <a:cubicBezTo>
                  <a:pt x="23" y="101"/>
                  <a:pt x="11" y="97"/>
                  <a:pt x="0" y="90"/>
                </a:cubicBezTo>
                <a:cubicBezTo>
                  <a:pt x="0" y="482"/>
                  <a:pt x="0" y="482"/>
                  <a:pt x="0" y="482"/>
                </a:cubicBezTo>
                <a:cubicBezTo>
                  <a:pt x="0" y="510"/>
                  <a:pt x="19" y="533"/>
                  <a:pt x="42" y="533"/>
                </a:cubicBezTo>
                <a:cubicBezTo>
                  <a:pt x="269" y="533"/>
                  <a:pt x="269" y="533"/>
                  <a:pt x="269" y="533"/>
                </a:cubicBezTo>
                <a:cubicBezTo>
                  <a:pt x="292" y="533"/>
                  <a:pt x="311" y="510"/>
                  <a:pt x="311" y="482"/>
                </a:cubicBezTo>
                <a:cubicBezTo>
                  <a:pt x="311" y="51"/>
                  <a:pt x="311" y="51"/>
                  <a:pt x="311" y="51"/>
                </a:cubicBezTo>
                <a:cubicBezTo>
                  <a:pt x="311" y="22"/>
                  <a:pt x="292" y="0"/>
                  <a:pt x="269" y="0"/>
                </a:cubicBezTo>
                <a:close/>
                <a:moveTo>
                  <a:pt x="35" y="58"/>
                </a:moveTo>
                <a:cubicBezTo>
                  <a:pt x="51" y="58"/>
                  <a:pt x="63" y="46"/>
                  <a:pt x="63" y="31"/>
                </a:cubicBezTo>
                <a:cubicBezTo>
                  <a:pt x="63" y="15"/>
                  <a:pt x="51" y="3"/>
                  <a:pt x="35" y="3"/>
                </a:cubicBezTo>
                <a:cubicBezTo>
                  <a:pt x="20" y="3"/>
                  <a:pt x="8" y="15"/>
                  <a:pt x="8" y="31"/>
                </a:cubicBezTo>
                <a:cubicBezTo>
                  <a:pt x="8" y="46"/>
                  <a:pt x="20" y="58"/>
                  <a:pt x="35" y="58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F71968D-74C8-4FA0-8745-4D5AD669F971}"/>
              </a:ext>
            </a:extLst>
          </p:cNvPr>
          <p:cNvSpPr txBox="1"/>
          <p:nvPr/>
        </p:nvSpPr>
        <p:spPr>
          <a:xfrm>
            <a:off x="4758415" y="1396685"/>
            <a:ext cx="1523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Trebuchet MS"/>
                <a:cs typeface="Trebuchet MS" panose="020B0502040204020203" pitchFamily="34" charset="0"/>
              </a:rPr>
              <a:t>External RADIUS (Local </a:t>
            </a:r>
            <a:r>
              <a:rPr lang="en-US" sz="1200" dirty="0" err="1">
                <a:latin typeface="Trebuchet MS"/>
                <a:cs typeface="Trebuchet MS" panose="020B0502040204020203" pitchFamily="34" charset="0"/>
              </a:rPr>
              <a:t>Eduroam</a:t>
            </a:r>
            <a:r>
              <a:rPr lang="en-US" sz="1200" dirty="0">
                <a:latin typeface="Trebuchet MS"/>
                <a:cs typeface="Trebuchet MS" panose="020B0502040204020203" pitchFamily="34" charset="0"/>
              </a:rPr>
              <a:t>)</a:t>
            </a:r>
          </a:p>
        </p:txBody>
      </p:sp>
      <p:sp>
        <p:nvSpPr>
          <p:cNvPr id="13" name="Freeform 64">
            <a:extLst>
              <a:ext uri="{FF2B5EF4-FFF2-40B4-BE49-F238E27FC236}">
                <a16:creationId xmlns:a16="http://schemas.microsoft.com/office/drawing/2014/main" id="{A39D318C-96D6-4639-8F13-437CD3FAA1E9}"/>
              </a:ext>
            </a:extLst>
          </p:cNvPr>
          <p:cNvSpPr>
            <a:spLocks noEditPoints="1"/>
          </p:cNvSpPr>
          <p:nvPr/>
        </p:nvSpPr>
        <p:spPr bwMode="auto">
          <a:xfrm>
            <a:off x="6011046" y="2555609"/>
            <a:ext cx="868363" cy="852488"/>
          </a:xfrm>
          <a:custGeom>
            <a:avLst/>
            <a:gdLst/>
            <a:ahLst/>
            <a:cxnLst>
              <a:cxn ang="0">
                <a:pos x="644" y="280"/>
              </a:cxn>
              <a:cxn ang="0">
                <a:pos x="432" y="217"/>
              </a:cxn>
              <a:cxn ang="0">
                <a:pos x="353" y="304"/>
              </a:cxn>
              <a:cxn ang="0">
                <a:pos x="242" y="394"/>
              </a:cxn>
              <a:cxn ang="0">
                <a:pos x="309" y="631"/>
              </a:cxn>
              <a:cxn ang="0">
                <a:pos x="475" y="783"/>
              </a:cxn>
              <a:cxn ang="0">
                <a:pos x="569" y="679"/>
              </a:cxn>
              <a:cxn ang="0">
                <a:pos x="585" y="672"/>
              </a:cxn>
              <a:cxn ang="0">
                <a:pos x="600" y="664"/>
              </a:cxn>
              <a:cxn ang="0">
                <a:pos x="615" y="654"/>
              </a:cxn>
              <a:cxn ang="0">
                <a:pos x="627" y="645"/>
              </a:cxn>
              <a:cxn ang="0">
                <a:pos x="920" y="474"/>
              </a:cxn>
              <a:cxn ang="0">
                <a:pos x="235" y="430"/>
              </a:cxn>
              <a:cxn ang="0">
                <a:pos x="46" y="513"/>
              </a:cxn>
              <a:cxn ang="0">
                <a:pos x="631" y="349"/>
              </a:cxn>
              <a:cxn ang="0">
                <a:pos x="595" y="55"/>
              </a:cxn>
              <a:cxn ang="0">
                <a:pos x="481" y="205"/>
              </a:cxn>
              <a:cxn ang="0">
                <a:pos x="601" y="297"/>
              </a:cxn>
              <a:cxn ang="0">
                <a:pos x="544" y="368"/>
              </a:cxn>
              <a:cxn ang="0">
                <a:pos x="432" y="369"/>
              </a:cxn>
              <a:cxn ang="0">
                <a:pos x="414" y="354"/>
              </a:cxn>
              <a:cxn ang="0">
                <a:pos x="433" y="408"/>
              </a:cxn>
              <a:cxn ang="0">
                <a:pos x="281" y="449"/>
              </a:cxn>
              <a:cxn ang="0">
                <a:pos x="344" y="659"/>
              </a:cxn>
              <a:cxn ang="0">
                <a:pos x="494" y="656"/>
              </a:cxn>
              <a:cxn ang="0">
                <a:pos x="461" y="554"/>
              </a:cxn>
              <a:cxn ang="0">
                <a:pos x="539" y="536"/>
              </a:cxn>
              <a:cxn ang="0">
                <a:pos x="555" y="486"/>
              </a:cxn>
              <a:cxn ang="0">
                <a:pos x="564" y="637"/>
              </a:cxn>
              <a:cxn ang="0">
                <a:pos x="566" y="602"/>
              </a:cxn>
              <a:cxn ang="0">
                <a:pos x="600" y="474"/>
              </a:cxn>
              <a:cxn ang="0">
                <a:pos x="564" y="637"/>
              </a:cxn>
              <a:cxn ang="0">
                <a:pos x="696" y="557"/>
              </a:cxn>
              <a:cxn ang="0">
                <a:pos x="705" y="534"/>
              </a:cxn>
              <a:cxn ang="0">
                <a:pos x="710" y="518"/>
              </a:cxn>
              <a:cxn ang="0">
                <a:pos x="715" y="496"/>
              </a:cxn>
              <a:cxn ang="0">
                <a:pos x="717" y="481"/>
              </a:cxn>
              <a:cxn ang="0">
                <a:pos x="719" y="455"/>
              </a:cxn>
              <a:cxn ang="0">
                <a:pos x="718" y="438"/>
              </a:cxn>
              <a:cxn ang="0">
                <a:pos x="715" y="416"/>
              </a:cxn>
              <a:cxn ang="0">
                <a:pos x="694" y="560"/>
              </a:cxn>
              <a:cxn ang="0">
                <a:pos x="284" y="278"/>
              </a:cxn>
            </a:cxnLst>
            <a:rect l="0" t="0" r="r" b="b"/>
            <a:pathLst>
              <a:path w="923" h="905">
                <a:moveTo>
                  <a:pt x="706" y="378"/>
                </a:moveTo>
                <a:cubicBezTo>
                  <a:pt x="705" y="376"/>
                  <a:pt x="705" y="375"/>
                  <a:pt x="704" y="373"/>
                </a:cubicBezTo>
                <a:cubicBezTo>
                  <a:pt x="691" y="337"/>
                  <a:pt x="670" y="305"/>
                  <a:pt x="644" y="280"/>
                </a:cubicBezTo>
                <a:cubicBezTo>
                  <a:pt x="666" y="145"/>
                  <a:pt x="661" y="33"/>
                  <a:pt x="607" y="17"/>
                </a:cubicBezTo>
                <a:cubicBezTo>
                  <a:pt x="549" y="0"/>
                  <a:pt x="487" y="100"/>
                  <a:pt x="445" y="187"/>
                </a:cubicBezTo>
                <a:cubicBezTo>
                  <a:pt x="441" y="197"/>
                  <a:pt x="436" y="207"/>
                  <a:pt x="432" y="217"/>
                </a:cubicBezTo>
                <a:cubicBezTo>
                  <a:pt x="419" y="219"/>
                  <a:pt x="406" y="223"/>
                  <a:pt x="394" y="227"/>
                </a:cubicBezTo>
                <a:cubicBezTo>
                  <a:pt x="373" y="235"/>
                  <a:pt x="353" y="245"/>
                  <a:pt x="336" y="258"/>
                </a:cubicBezTo>
                <a:cubicBezTo>
                  <a:pt x="346" y="270"/>
                  <a:pt x="353" y="286"/>
                  <a:pt x="353" y="304"/>
                </a:cubicBezTo>
                <a:cubicBezTo>
                  <a:pt x="353" y="344"/>
                  <a:pt x="321" y="377"/>
                  <a:pt x="281" y="377"/>
                </a:cubicBezTo>
                <a:cubicBezTo>
                  <a:pt x="270" y="377"/>
                  <a:pt x="259" y="374"/>
                  <a:pt x="250" y="370"/>
                </a:cubicBezTo>
                <a:cubicBezTo>
                  <a:pt x="247" y="378"/>
                  <a:pt x="244" y="386"/>
                  <a:pt x="242" y="394"/>
                </a:cubicBezTo>
                <a:cubicBezTo>
                  <a:pt x="98" y="422"/>
                  <a:pt x="0" y="468"/>
                  <a:pt x="3" y="517"/>
                </a:cubicBezTo>
                <a:cubicBezTo>
                  <a:pt x="5" y="570"/>
                  <a:pt x="128" y="610"/>
                  <a:pt x="299" y="620"/>
                </a:cubicBezTo>
                <a:cubicBezTo>
                  <a:pt x="302" y="624"/>
                  <a:pt x="305" y="627"/>
                  <a:pt x="309" y="631"/>
                </a:cubicBezTo>
                <a:cubicBezTo>
                  <a:pt x="298" y="700"/>
                  <a:pt x="288" y="797"/>
                  <a:pt x="308" y="853"/>
                </a:cubicBezTo>
                <a:cubicBezTo>
                  <a:pt x="316" y="874"/>
                  <a:pt x="328" y="889"/>
                  <a:pt x="346" y="894"/>
                </a:cubicBezTo>
                <a:cubicBezTo>
                  <a:pt x="383" y="905"/>
                  <a:pt x="427" y="868"/>
                  <a:pt x="475" y="783"/>
                </a:cubicBezTo>
                <a:cubicBezTo>
                  <a:pt x="491" y="757"/>
                  <a:pt x="506" y="726"/>
                  <a:pt x="521" y="694"/>
                </a:cubicBezTo>
                <a:cubicBezTo>
                  <a:pt x="533" y="691"/>
                  <a:pt x="546" y="688"/>
                  <a:pt x="558" y="683"/>
                </a:cubicBezTo>
                <a:cubicBezTo>
                  <a:pt x="562" y="682"/>
                  <a:pt x="566" y="681"/>
                  <a:pt x="569" y="679"/>
                </a:cubicBezTo>
                <a:cubicBezTo>
                  <a:pt x="571" y="679"/>
                  <a:pt x="572" y="678"/>
                  <a:pt x="573" y="677"/>
                </a:cubicBezTo>
                <a:cubicBezTo>
                  <a:pt x="576" y="676"/>
                  <a:pt x="578" y="675"/>
                  <a:pt x="580" y="674"/>
                </a:cubicBezTo>
                <a:cubicBezTo>
                  <a:pt x="582" y="674"/>
                  <a:pt x="583" y="673"/>
                  <a:pt x="585" y="672"/>
                </a:cubicBezTo>
                <a:cubicBezTo>
                  <a:pt x="587" y="671"/>
                  <a:pt x="588" y="670"/>
                  <a:pt x="590" y="669"/>
                </a:cubicBezTo>
                <a:cubicBezTo>
                  <a:pt x="592" y="668"/>
                  <a:pt x="594" y="667"/>
                  <a:pt x="595" y="666"/>
                </a:cubicBezTo>
                <a:cubicBezTo>
                  <a:pt x="597" y="666"/>
                  <a:pt x="598" y="665"/>
                  <a:pt x="600" y="664"/>
                </a:cubicBezTo>
                <a:cubicBezTo>
                  <a:pt x="602" y="663"/>
                  <a:pt x="604" y="662"/>
                  <a:pt x="605" y="661"/>
                </a:cubicBezTo>
                <a:cubicBezTo>
                  <a:pt x="607" y="660"/>
                  <a:pt x="608" y="659"/>
                  <a:pt x="610" y="658"/>
                </a:cubicBezTo>
                <a:cubicBezTo>
                  <a:pt x="611" y="657"/>
                  <a:pt x="613" y="655"/>
                  <a:pt x="615" y="654"/>
                </a:cubicBezTo>
                <a:cubicBezTo>
                  <a:pt x="616" y="653"/>
                  <a:pt x="617" y="652"/>
                  <a:pt x="619" y="652"/>
                </a:cubicBezTo>
                <a:cubicBezTo>
                  <a:pt x="620" y="650"/>
                  <a:pt x="622" y="649"/>
                  <a:pt x="624" y="647"/>
                </a:cubicBezTo>
                <a:cubicBezTo>
                  <a:pt x="625" y="647"/>
                  <a:pt x="626" y="646"/>
                  <a:pt x="627" y="645"/>
                </a:cubicBezTo>
                <a:cubicBezTo>
                  <a:pt x="629" y="644"/>
                  <a:pt x="631" y="642"/>
                  <a:pt x="633" y="640"/>
                </a:cubicBezTo>
                <a:cubicBezTo>
                  <a:pt x="648" y="628"/>
                  <a:pt x="661" y="613"/>
                  <a:pt x="672" y="598"/>
                </a:cubicBezTo>
                <a:cubicBezTo>
                  <a:pt x="821" y="570"/>
                  <a:pt x="923" y="523"/>
                  <a:pt x="920" y="474"/>
                </a:cubicBezTo>
                <a:cubicBezTo>
                  <a:pt x="918" y="429"/>
                  <a:pt x="833" y="394"/>
                  <a:pt x="706" y="378"/>
                </a:cubicBezTo>
                <a:close/>
                <a:moveTo>
                  <a:pt x="46" y="513"/>
                </a:moveTo>
                <a:cubicBezTo>
                  <a:pt x="44" y="482"/>
                  <a:pt x="120" y="451"/>
                  <a:pt x="235" y="430"/>
                </a:cubicBezTo>
                <a:cubicBezTo>
                  <a:pt x="231" y="465"/>
                  <a:pt x="235" y="502"/>
                  <a:pt x="248" y="538"/>
                </a:cubicBezTo>
                <a:cubicBezTo>
                  <a:pt x="254" y="554"/>
                  <a:pt x="262" y="569"/>
                  <a:pt x="270" y="583"/>
                </a:cubicBezTo>
                <a:cubicBezTo>
                  <a:pt x="138" y="573"/>
                  <a:pt x="47" y="548"/>
                  <a:pt x="46" y="513"/>
                </a:cubicBezTo>
                <a:close/>
                <a:moveTo>
                  <a:pt x="635" y="331"/>
                </a:moveTo>
                <a:cubicBezTo>
                  <a:pt x="636" y="333"/>
                  <a:pt x="638" y="335"/>
                  <a:pt x="639" y="337"/>
                </a:cubicBezTo>
                <a:cubicBezTo>
                  <a:pt x="637" y="341"/>
                  <a:pt x="634" y="345"/>
                  <a:pt x="631" y="349"/>
                </a:cubicBezTo>
                <a:cubicBezTo>
                  <a:pt x="632" y="343"/>
                  <a:pt x="634" y="337"/>
                  <a:pt x="635" y="331"/>
                </a:cubicBezTo>
                <a:close/>
                <a:moveTo>
                  <a:pt x="481" y="205"/>
                </a:moveTo>
                <a:cubicBezTo>
                  <a:pt x="544" y="73"/>
                  <a:pt x="586" y="52"/>
                  <a:pt x="595" y="55"/>
                </a:cubicBezTo>
                <a:cubicBezTo>
                  <a:pt x="613" y="60"/>
                  <a:pt x="625" y="130"/>
                  <a:pt x="608" y="252"/>
                </a:cubicBezTo>
                <a:cubicBezTo>
                  <a:pt x="569" y="227"/>
                  <a:pt x="524" y="213"/>
                  <a:pt x="477" y="213"/>
                </a:cubicBezTo>
                <a:cubicBezTo>
                  <a:pt x="478" y="210"/>
                  <a:pt x="480" y="207"/>
                  <a:pt x="481" y="205"/>
                </a:cubicBezTo>
                <a:close/>
                <a:moveTo>
                  <a:pt x="414" y="354"/>
                </a:moveTo>
                <a:cubicBezTo>
                  <a:pt x="417" y="322"/>
                  <a:pt x="425" y="284"/>
                  <a:pt x="442" y="257"/>
                </a:cubicBezTo>
                <a:cubicBezTo>
                  <a:pt x="499" y="247"/>
                  <a:pt x="557" y="262"/>
                  <a:pt x="601" y="297"/>
                </a:cubicBezTo>
                <a:cubicBezTo>
                  <a:pt x="598" y="311"/>
                  <a:pt x="595" y="325"/>
                  <a:pt x="592" y="340"/>
                </a:cubicBezTo>
                <a:cubicBezTo>
                  <a:pt x="584" y="342"/>
                  <a:pt x="586" y="356"/>
                  <a:pt x="567" y="368"/>
                </a:cubicBezTo>
                <a:cubicBezTo>
                  <a:pt x="560" y="368"/>
                  <a:pt x="552" y="368"/>
                  <a:pt x="544" y="368"/>
                </a:cubicBezTo>
                <a:cubicBezTo>
                  <a:pt x="529" y="359"/>
                  <a:pt x="516" y="340"/>
                  <a:pt x="499" y="341"/>
                </a:cubicBezTo>
                <a:cubicBezTo>
                  <a:pt x="482" y="341"/>
                  <a:pt x="455" y="348"/>
                  <a:pt x="458" y="336"/>
                </a:cubicBezTo>
                <a:cubicBezTo>
                  <a:pt x="473" y="280"/>
                  <a:pt x="419" y="303"/>
                  <a:pt x="432" y="369"/>
                </a:cubicBezTo>
                <a:cubicBezTo>
                  <a:pt x="432" y="369"/>
                  <a:pt x="432" y="370"/>
                  <a:pt x="432" y="371"/>
                </a:cubicBezTo>
                <a:cubicBezTo>
                  <a:pt x="408" y="372"/>
                  <a:pt x="384" y="374"/>
                  <a:pt x="361" y="377"/>
                </a:cubicBezTo>
                <a:cubicBezTo>
                  <a:pt x="379" y="343"/>
                  <a:pt x="412" y="384"/>
                  <a:pt x="414" y="354"/>
                </a:cubicBezTo>
                <a:close/>
                <a:moveTo>
                  <a:pt x="281" y="449"/>
                </a:moveTo>
                <a:cubicBezTo>
                  <a:pt x="281" y="440"/>
                  <a:pt x="281" y="431"/>
                  <a:pt x="282" y="423"/>
                </a:cubicBezTo>
                <a:cubicBezTo>
                  <a:pt x="328" y="416"/>
                  <a:pt x="379" y="411"/>
                  <a:pt x="433" y="408"/>
                </a:cubicBezTo>
                <a:cubicBezTo>
                  <a:pt x="431" y="428"/>
                  <a:pt x="429" y="447"/>
                  <a:pt x="424" y="454"/>
                </a:cubicBezTo>
                <a:cubicBezTo>
                  <a:pt x="407" y="479"/>
                  <a:pt x="379" y="461"/>
                  <a:pt x="354" y="455"/>
                </a:cubicBezTo>
                <a:cubicBezTo>
                  <a:pt x="330" y="448"/>
                  <a:pt x="305" y="451"/>
                  <a:pt x="281" y="449"/>
                </a:cubicBezTo>
                <a:close/>
                <a:moveTo>
                  <a:pt x="441" y="763"/>
                </a:moveTo>
                <a:cubicBezTo>
                  <a:pt x="394" y="846"/>
                  <a:pt x="364" y="858"/>
                  <a:pt x="357" y="856"/>
                </a:cubicBezTo>
                <a:cubicBezTo>
                  <a:pt x="343" y="852"/>
                  <a:pt x="325" y="798"/>
                  <a:pt x="344" y="659"/>
                </a:cubicBezTo>
                <a:cubicBezTo>
                  <a:pt x="383" y="684"/>
                  <a:pt x="428" y="698"/>
                  <a:pt x="475" y="698"/>
                </a:cubicBezTo>
                <a:cubicBezTo>
                  <a:pt x="464" y="722"/>
                  <a:pt x="453" y="744"/>
                  <a:pt x="441" y="763"/>
                </a:cubicBezTo>
                <a:close/>
                <a:moveTo>
                  <a:pt x="494" y="656"/>
                </a:moveTo>
                <a:cubicBezTo>
                  <a:pt x="451" y="660"/>
                  <a:pt x="408" y="650"/>
                  <a:pt x="372" y="628"/>
                </a:cubicBezTo>
                <a:cubicBezTo>
                  <a:pt x="376" y="610"/>
                  <a:pt x="409" y="605"/>
                  <a:pt x="422" y="597"/>
                </a:cubicBezTo>
                <a:cubicBezTo>
                  <a:pt x="442" y="586"/>
                  <a:pt x="461" y="576"/>
                  <a:pt x="461" y="554"/>
                </a:cubicBezTo>
                <a:cubicBezTo>
                  <a:pt x="461" y="530"/>
                  <a:pt x="428" y="513"/>
                  <a:pt x="473" y="489"/>
                </a:cubicBezTo>
                <a:cubicBezTo>
                  <a:pt x="493" y="479"/>
                  <a:pt x="517" y="503"/>
                  <a:pt x="527" y="513"/>
                </a:cubicBezTo>
                <a:cubicBezTo>
                  <a:pt x="535" y="521"/>
                  <a:pt x="538" y="529"/>
                  <a:pt x="539" y="536"/>
                </a:cubicBezTo>
                <a:cubicBezTo>
                  <a:pt x="525" y="578"/>
                  <a:pt x="510" y="619"/>
                  <a:pt x="494" y="656"/>
                </a:cubicBezTo>
                <a:close/>
                <a:moveTo>
                  <a:pt x="535" y="497"/>
                </a:moveTo>
                <a:cubicBezTo>
                  <a:pt x="534" y="487"/>
                  <a:pt x="544" y="488"/>
                  <a:pt x="555" y="486"/>
                </a:cubicBezTo>
                <a:cubicBezTo>
                  <a:pt x="552" y="495"/>
                  <a:pt x="549" y="504"/>
                  <a:pt x="547" y="513"/>
                </a:cubicBezTo>
                <a:cubicBezTo>
                  <a:pt x="541" y="510"/>
                  <a:pt x="536" y="507"/>
                  <a:pt x="535" y="497"/>
                </a:cubicBezTo>
                <a:close/>
                <a:moveTo>
                  <a:pt x="564" y="637"/>
                </a:moveTo>
                <a:cubicBezTo>
                  <a:pt x="562" y="630"/>
                  <a:pt x="558" y="623"/>
                  <a:pt x="552" y="617"/>
                </a:cubicBezTo>
                <a:cubicBezTo>
                  <a:pt x="554" y="612"/>
                  <a:pt x="556" y="607"/>
                  <a:pt x="558" y="602"/>
                </a:cubicBezTo>
                <a:cubicBezTo>
                  <a:pt x="560" y="603"/>
                  <a:pt x="563" y="603"/>
                  <a:pt x="566" y="602"/>
                </a:cubicBezTo>
                <a:cubicBezTo>
                  <a:pt x="585" y="594"/>
                  <a:pt x="580" y="563"/>
                  <a:pt x="577" y="549"/>
                </a:cubicBezTo>
                <a:cubicBezTo>
                  <a:pt x="583" y="530"/>
                  <a:pt x="589" y="510"/>
                  <a:pt x="595" y="491"/>
                </a:cubicBezTo>
                <a:cubicBezTo>
                  <a:pt x="597" y="485"/>
                  <a:pt x="598" y="479"/>
                  <a:pt x="600" y="474"/>
                </a:cubicBezTo>
                <a:cubicBezTo>
                  <a:pt x="612" y="479"/>
                  <a:pt x="629" y="489"/>
                  <a:pt x="652" y="509"/>
                </a:cubicBezTo>
                <a:cubicBezTo>
                  <a:pt x="657" y="513"/>
                  <a:pt x="662" y="517"/>
                  <a:pt x="666" y="522"/>
                </a:cubicBezTo>
                <a:cubicBezTo>
                  <a:pt x="649" y="571"/>
                  <a:pt x="613" y="613"/>
                  <a:pt x="564" y="637"/>
                </a:cubicBezTo>
                <a:close/>
                <a:moveTo>
                  <a:pt x="694" y="560"/>
                </a:moveTo>
                <a:cubicBezTo>
                  <a:pt x="695" y="559"/>
                  <a:pt x="696" y="558"/>
                  <a:pt x="696" y="557"/>
                </a:cubicBezTo>
                <a:cubicBezTo>
                  <a:pt x="696" y="557"/>
                  <a:pt x="696" y="557"/>
                  <a:pt x="696" y="557"/>
                </a:cubicBezTo>
                <a:cubicBezTo>
                  <a:pt x="698" y="553"/>
                  <a:pt x="700" y="549"/>
                  <a:pt x="701" y="545"/>
                </a:cubicBezTo>
                <a:cubicBezTo>
                  <a:pt x="701" y="545"/>
                  <a:pt x="702" y="544"/>
                  <a:pt x="702" y="543"/>
                </a:cubicBezTo>
                <a:cubicBezTo>
                  <a:pt x="703" y="540"/>
                  <a:pt x="704" y="537"/>
                  <a:pt x="705" y="534"/>
                </a:cubicBezTo>
                <a:cubicBezTo>
                  <a:pt x="706" y="533"/>
                  <a:pt x="706" y="532"/>
                  <a:pt x="706" y="531"/>
                </a:cubicBezTo>
                <a:cubicBezTo>
                  <a:pt x="707" y="528"/>
                  <a:pt x="708" y="525"/>
                  <a:pt x="709" y="522"/>
                </a:cubicBezTo>
                <a:cubicBezTo>
                  <a:pt x="710" y="520"/>
                  <a:pt x="710" y="519"/>
                  <a:pt x="710" y="518"/>
                </a:cubicBezTo>
                <a:cubicBezTo>
                  <a:pt x="711" y="515"/>
                  <a:pt x="712" y="512"/>
                  <a:pt x="712" y="509"/>
                </a:cubicBezTo>
                <a:cubicBezTo>
                  <a:pt x="713" y="508"/>
                  <a:pt x="713" y="507"/>
                  <a:pt x="713" y="506"/>
                </a:cubicBezTo>
                <a:cubicBezTo>
                  <a:pt x="714" y="503"/>
                  <a:pt x="714" y="499"/>
                  <a:pt x="715" y="496"/>
                </a:cubicBezTo>
                <a:cubicBezTo>
                  <a:pt x="715" y="495"/>
                  <a:pt x="715" y="494"/>
                  <a:pt x="716" y="493"/>
                </a:cubicBezTo>
                <a:cubicBezTo>
                  <a:pt x="716" y="489"/>
                  <a:pt x="717" y="485"/>
                  <a:pt x="717" y="481"/>
                </a:cubicBezTo>
                <a:cubicBezTo>
                  <a:pt x="717" y="481"/>
                  <a:pt x="717" y="481"/>
                  <a:pt x="717" y="481"/>
                </a:cubicBezTo>
                <a:cubicBezTo>
                  <a:pt x="718" y="476"/>
                  <a:pt x="718" y="472"/>
                  <a:pt x="718" y="468"/>
                </a:cubicBezTo>
                <a:cubicBezTo>
                  <a:pt x="718" y="467"/>
                  <a:pt x="718" y="467"/>
                  <a:pt x="718" y="466"/>
                </a:cubicBezTo>
                <a:cubicBezTo>
                  <a:pt x="718" y="463"/>
                  <a:pt x="719" y="459"/>
                  <a:pt x="719" y="455"/>
                </a:cubicBezTo>
                <a:cubicBezTo>
                  <a:pt x="718" y="454"/>
                  <a:pt x="718" y="452"/>
                  <a:pt x="718" y="451"/>
                </a:cubicBezTo>
                <a:cubicBezTo>
                  <a:pt x="718" y="448"/>
                  <a:pt x="718" y="445"/>
                  <a:pt x="718" y="442"/>
                </a:cubicBezTo>
                <a:cubicBezTo>
                  <a:pt x="718" y="441"/>
                  <a:pt x="718" y="439"/>
                  <a:pt x="718" y="438"/>
                </a:cubicBezTo>
                <a:cubicBezTo>
                  <a:pt x="718" y="435"/>
                  <a:pt x="717" y="432"/>
                  <a:pt x="717" y="429"/>
                </a:cubicBezTo>
                <a:cubicBezTo>
                  <a:pt x="717" y="428"/>
                  <a:pt x="717" y="426"/>
                  <a:pt x="717" y="424"/>
                </a:cubicBezTo>
                <a:cubicBezTo>
                  <a:pt x="716" y="422"/>
                  <a:pt x="716" y="419"/>
                  <a:pt x="715" y="416"/>
                </a:cubicBezTo>
                <a:cubicBezTo>
                  <a:pt x="715" y="416"/>
                  <a:pt x="715" y="416"/>
                  <a:pt x="715" y="416"/>
                </a:cubicBezTo>
                <a:cubicBezTo>
                  <a:pt x="810" y="428"/>
                  <a:pt x="872" y="451"/>
                  <a:pt x="874" y="479"/>
                </a:cubicBezTo>
                <a:cubicBezTo>
                  <a:pt x="875" y="510"/>
                  <a:pt x="804" y="540"/>
                  <a:pt x="694" y="560"/>
                </a:cubicBezTo>
                <a:close/>
                <a:moveTo>
                  <a:pt x="284" y="333"/>
                </a:moveTo>
                <a:cubicBezTo>
                  <a:pt x="300" y="333"/>
                  <a:pt x="312" y="321"/>
                  <a:pt x="312" y="306"/>
                </a:cubicBezTo>
                <a:cubicBezTo>
                  <a:pt x="312" y="291"/>
                  <a:pt x="300" y="278"/>
                  <a:pt x="284" y="278"/>
                </a:cubicBezTo>
                <a:cubicBezTo>
                  <a:pt x="269" y="278"/>
                  <a:pt x="257" y="291"/>
                  <a:pt x="257" y="306"/>
                </a:cubicBezTo>
                <a:cubicBezTo>
                  <a:pt x="257" y="321"/>
                  <a:pt x="269" y="333"/>
                  <a:pt x="284" y="333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>
              <a:latin typeface="+mn-lt"/>
            </a:endParaRPr>
          </a:p>
        </p:txBody>
      </p:sp>
      <p:sp>
        <p:nvSpPr>
          <p:cNvPr id="14" name="Freeform 145">
            <a:extLst>
              <a:ext uri="{FF2B5EF4-FFF2-40B4-BE49-F238E27FC236}">
                <a16:creationId xmlns:a16="http://schemas.microsoft.com/office/drawing/2014/main" id="{636EB5A1-16C7-453C-BDCA-51E97FB40ACB}"/>
              </a:ext>
            </a:extLst>
          </p:cNvPr>
          <p:cNvSpPr>
            <a:spLocks noEditPoints="1"/>
          </p:cNvSpPr>
          <p:nvPr/>
        </p:nvSpPr>
        <p:spPr bwMode="auto">
          <a:xfrm>
            <a:off x="7529661" y="2528355"/>
            <a:ext cx="293687" cy="501650"/>
          </a:xfrm>
          <a:custGeom>
            <a:avLst/>
            <a:gdLst/>
            <a:ahLst/>
            <a:cxnLst>
              <a:cxn ang="0">
                <a:pos x="269" y="0"/>
              </a:cxn>
              <a:cxn ang="0">
                <a:pos x="102" y="0"/>
              </a:cxn>
              <a:cxn ang="0">
                <a:pos x="109" y="30"/>
              </a:cxn>
              <a:cxn ang="0">
                <a:pos x="37" y="101"/>
              </a:cxn>
              <a:cxn ang="0">
                <a:pos x="0" y="90"/>
              </a:cxn>
              <a:cxn ang="0">
                <a:pos x="0" y="482"/>
              </a:cxn>
              <a:cxn ang="0">
                <a:pos x="42" y="533"/>
              </a:cxn>
              <a:cxn ang="0">
                <a:pos x="269" y="533"/>
              </a:cxn>
              <a:cxn ang="0">
                <a:pos x="311" y="482"/>
              </a:cxn>
              <a:cxn ang="0">
                <a:pos x="311" y="51"/>
              </a:cxn>
              <a:cxn ang="0">
                <a:pos x="269" y="0"/>
              </a:cxn>
              <a:cxn ang="0">
                <a:pos x="35" y="58"/>
              </a:cxn>
              <a:cxn ang="0">
                <a:pos x="63" y="31"/>
              </a:cxn>
              <a:cxn ang="0">
                <a:pos x="35" y="3"/>
              </a:cxn>
              <a:cxn ang="0">
                <a:pos x="8" y="31"/>
              </a:cxn>
              <a:cxn ang="0">
                <a:pos x="35" y="58"/>
              </a:cxn>
            </a:cxnLst>
            <a:rect l="0" t="0" r="r" b="b"/>
            <a:pathLst>
              <a:path w="311" h="533">
                <a:moveTo>
                  <a:pt x="269" y="0"/>
                </a:moveTo>
                <a:cubicBezTo>
                  <a:pt x="102" y="0"/>
                  <a:pt x="102" y="0"/>
                  <a:pt x="102" y="0"/>
                </a:cubicBezTo>
                <a:cubicBezTo>
                  <a:pt x="106" y="9"/>
                  <a:pt x="109" y="19"/>
                  <a:pt x="109" y="30"/>
                </a:cubicBezTo>
                <a:cubicBezTo>
                  <a:pt x="109" y="69"/>
                  <a:pt x="77" y="101"/>
                  <a:pt x="37" y="101"/>
                </a:cubicBezTo>
                <a:cubicBezTo>
                  <a:pt x="23" y="101"/>
                  <a:pt x="11" y="97"/>
                  <a:pt x="0" y="90"/>
                </a:cubicBezTo>
                <a:cubicBezTo>
                  <a:pt x="0" y="482"/>
                  <a:pt x="0" y="482"/>
                  <a:pt x="0" y="482"/>
                </a:cubicBezTo>
                <a:cubicBezTo>
                  <a:pt x="0" y="510"/>
                  <a:pt x="19" y="533"/>
                  <a:pt x="42" y="533"/>
                </a:cubicBezTo>
                <a:cubicBezTo>
                  <a:pt x="269" y="533"/>
                  <a:pt x="269" y="533"/>
                  <a:pt x="269" y="533"/>
                </a:cubicBezTo>
                <a:cubicBezTo>
                  <a:pt x="292" y="533"/>
                  <a:pt x="311" y="510"/>
                  <a:pt x="311" y="482"/>
                </a:cubicBezTo>
                <a:cubicBezTo>
                  <a:pt x="311" y="51"/>
                  <a:pt x="311" y="51"/>
                  <a:pt x="311" y="51"/>
                </a:cubicBezTo>
                <a:cubicBezTo>
                  <a:pt x="311" y="22"/>
                  <a:pt x="292" y="0"/>
                  <a:pt x="269" y="0"/>
                </a:cubicBezTo>
                <a:close/>
                <a:moveTo>
                  <a:pt x="35" y="58"/>
                </a:moveTo>
                <a:cubicBezTo>
                  <a:pt x="51" y="58"/>
                  <a:pt x="63" y="46"/>
                  <a:pt x="63" y="31"/>
                </a:cubicBezTo>
                <a:cubicBezTo>
                  <a:pt x="63" y="15"/>
                  <a:pt x="51" y="3"/>
                  <a:pt x="35" y="3"/>
                </a:cubicBezTo>
                <a:cubicBezTo>
                  <a:pt x="20" y="3"/>
                  <a:pt x="8" y="15"/>
                  <a:pt x="8" y="31"/>
                </a:cubicBezTo>
                <a:cubicBezTo>
                  <a:pt x="8" y="46"/>
                  <a:pt x="20" y="58"/>
                  <a:pt x="35" y="58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C89EB506-057E-48A8-BB92-5A5407D0542E}"/>
              </a:ext>
            </a:extLst>
          </p:cNvPr>
          <p:cNvSpPr txBox="1"/>
          <p:nvPr/>
        </p:nvSpPr>
        <p:spPr>
          <a:xfrm>
            <a:off x="6914578" y="2981853"/>
            <a:ext cx="1523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>
                <a:latin typeface="Trebuchet MS"/>
                <a:cs typeface="Trebuchet MS" panose="020B0502040204020203" pitchFamily="34" charset="0"/>
              </a:rPr>
              <a:t>Eduroam</a:t>
            </a:r>
            <a:r>
              <a:rPr lang="en-US" sz="1200" dirty="0">
                <a:latin typeface="Trebuchet MS"/>
                <a:cs typeface="Trebuchet MS" panose="020B0502040204020203" pitchFamily="34" charset="0"/>
              </a:rPr>
              <a:t> RADIUS</a:t>
            </a:r>
          </a:p>
        </p:txBody>
      </p:sp>
      <p:grpSp>
        <p:nvGrpSpPr>
          <p:cNvPr id="16" name="Group 277">
            <a:extLst>
              <a:ext uri="{FF2B5EF4-FFF2-40B4-BE49-F238E27FC236}">
                <a16:creationId xmlns:a16="http://schemas.microsoft.com/office/drawing/2014/main" id="{0E15CDFD-FEC6-4218-8190-EF26BFDFE1A5}"/>
              </a:ext>
            </a:extLst>
          </p:cNvPr>
          <p:cNvGrpSpPr/>
          <p:nvPr/>
        </p:nvGrpSpPr>
        <p:grpSpPr>
          <a:xfrm>
            <a:off x="515369" y="3120352"/>
            <a:ext cx="493724" cy="658300"/>
            <a:chOff x="6557963" y="3702050"/>
            <a:chExt cx="576262" cy="768351"/>
          </a:xfrm>
          <a:solidFill>
            <a:schemeClr val="accent4"/>
          </a:solidFill>
        </p:grpSpPr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4E49FBA0-67ED-4684-BAC4-619C3230B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938" y="3984625"/>
              <a:ext cx="58737" cy="57150"/>
            </a:xfrm>
            <a:custGeom>
              <a:avLst/>
              <a:gdLst>
                <a:gd name="T0" fmla="*/ 14 w 21"/>
                <a:gd name="T1" fmla="*/ 18 h 20"/>
                <a:gd name="T2" fmla="*/ 19 w 21"/>
                <a:gd name="T3" fmla="*/ 6 h 20"/>
                <a:gd name="T4" fmla="*/ 7 w 21"/>
                <a:gd name="T5" fmla="*/ 2 h 20"/>
                <a:gd name="T6" fmla="*/ 2 w 21"/>
                <a:gd name="T7" fmla="*/ 14 h 20"/>
                <a:gd name="T8" fmla="*/ 14 w 21"/>
                <a:gd name="T9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">
                  <a:moveTo>
                    <a:pt x="14" y="18"/>
                  </a:moveTo>
                  <a:cubicBezTo>
                    <a:pt x="19" y="16"/>
                    <a:pt x="21" y="11"/>
                    <a:pt x="19" y="6"/>
                  </a:cubicBezTo>
                  <a:cubicBezTo>
                    <a:pt x="17" y="2"/>
                    <a:pt x="12" y="0"/>
                    <a:pt x="7" y="2"/>
                  </a:cubicBezTo>
                  <a:cubicBezTo>
                    <a:pt x="2" y="4"/>
                    <a:pt x="0" y="9"/>
                    <a:pt x="2" y="14"/>
                  </a:cubicBezTo>
                  <a:cubicBezTo>
                    <a:pt x="4" y="18"/>
                    <a:pt x="10" y="20"/>
                    <a:pt x="1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9AB4CAFF-6829-4892-ACAC-BC9415E29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5275" y="3792538"/>
              <a:ext cx="136525" cy="141288"/>
            </a:xfrm>
            <a:custGeom>
              <a:avLst/>
              <a:gdLst>
                <a:gd name="T0" fmla="*/ 0 w 48"/>
                <a:gd name="T1" fmla="*/ 36 h 50"/>
                <a:gd name="T2" fmla="*/ 23 w 48"/>
                <a:gd name="T3" fmla="*/ 50 h 50"/>
                <a:gd name="T4" fmla="*/ 48 w 48"/>
                <a:gd name="T5" fmla="*/ 25 h 50"/>
                <a:gd name="T6" fmla="*/ 23 w 48"/>
                <a:gd name="T7" fmla="*/ 0 h 50"/>
                <a:gd name="T8" fmla="*/ 0 w 48"/>
                <a:gd name="T9" fmla="*/ 13 h 50"/>
                <a:gd name="T10" fmla="*/ 5 w 48"/>
                <a:gd name="T11" fmla="*/ 26 h 50"/>
                <a:gd name="T12" fmla="*/ 0 w 48"/>
                <a:gd name="T13" fmla="*/ 3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50">
                  <a:moveTo>
                    <a:pt x="0" y="36"/>
                  </a:moveTo>
                  <a:cubicBezTo>
                    <a:pt x="4" y="44"/>
                    <a:pt x="12" y="50"/>
                    <a:pt x="23" y="50"/>
                  </a:cubicBezTo>
                  <a:cubicBezTo>
                    <a:pt x="37" y="50"/>
                    <a:pt x="48" y="39"/>
                    <a:pt x="48" y="25"/>
                  </a:cubicBezTo>
                  <a:cubicBezTo>
                    <a:pt x="48" y="11"/>
                    <a:pt x="37" y="0"/>
                    <a:pt x="23" y="0"/>
                  </a:cubicBezTo>
                  <a:cubicBezTo>
                    <a:pt x="13" y="0"/>
                    <a:pt x="4" y="5"/>
                    <a:pt x="0" y="13"/>
                  </a:cubicBezTo>
                  <a:cubicBezTo>
                    <a:pt x="2" y="16"/>
                    <a:pt x="4" y="23"/>
                    <a:pt x="5" y="26"/>
                  </a:cubicBezTo>
                  <a:cubicBezTo>
                    <a:pt x="5" y="28"/>
                    <a:pt x="6" y="41"/>
                    <a:pt x="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0">
              <a:extLst>
                <a:ext uri="{FF2B5EF4-FFF2-40B4-BE49-F238E27FC236}">
                  <a16:creationId xmlns:a16="http://schemas.microsoft.com/office/drawing/2014/main" id="{E7BC343A-A677-4F8D-9EF7-118A0C782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963" y="3948113"/>
              <a:ext cx="333375" cy="522288"/>
            </a:xfrm>
            <a:custGeom>
              <a:avLst/>
              <a:gdLst>
                <a:gd name="T0" fmla="*/ 23 w 118"/>
                <a:gd name="T1" fmla="*/ 46 h 185"/>
                <a:gd name="T2" fmla="*/ 23 w 118"/>
                <a:gd name="T3" fmla="*/ 70 h 185"/>
                <a:gd name="T4" fmla="*/ 35 w 118"/>
                <a:gd name="T5" fmla="*/ 94 h 185"/>
                <a:gd name="T6" fmla="*/ 1 w 118"/>
                <a:gd name="T7" fmla="*/ 167 h 185"/>
                <a:gd name="T8" fmla="*/ 3 w 118"/>
                <a:gd name="T9" fmla="*/ 172 h 185"/>
                <a:gd name="T10" fmla="*/ 23 w 118"/>
                <a:gd name="T11" fmla="*/ 183 h 185"/>
                <a:gd name="T12" fmla="*/ 25 w 118"/>
                <a:gd name="T13" fmla="*/ 183 h 185"/>
                <a:gd name="T14" fmla="*/ 26 w 118"/>
                <a:gd name="T15" fmla="*/ 183 h 185"/>
                <a:gd name="T16" fmla="*/ 28 w 118"/>
                <a:gd name="T17" fmla="*/ 181 h 185"/>
                <a:gd name="T18" fmla="*/ 56 w 118"/>
                <a:gd name="T19" fmla="*/ 121 h 185"/>
                <a:gd name="T20" fmla="*/ 89 w 118"/>
                <a:gd name="T21" fmla="*/ 183 h 185"/>
                <a:gd name="T22" fmla="*/ 91 w 118"/>
                <a:gd name="T23" fmla="*/ 185 h 185"/>
                <a:gd name="T24" fmla="*/ 92 w 118"/>
                <a:gd name="T25" fmla="*/ 185 h 185"/>
                <a:gd name="T26" fmla="*/ 94 w 118"/>
                <a:gd name="T27" fmla="*/ 184 h 185"/>
                <a:gd name="T28" fmla="*/ 116 w 118"/>
                <a:gd name="T29" fmla="*/ 175 h 185"/>
                <a:gd name="T30" fmla="*/ 118 w 118"/>
                <a:gd name="T31" fmla="*/ 173 h 185"/>
                <a:gd name="T32" fmla="*/ 118 w 118"/>
                <a:gd name="T33" fmla="*/ 170 h 185"/>
                <a:gd name="T34" fmla="*/ 77 w 118"/>
                <a:gd name="T35" fmla="*/ 85 h 185"/>
                <a:gd name="T36" fmla="*/ 77 w 118"/>
                <a:gd name="T37" fmla="*/ 78 h 185"/>
                <a:gd name="T38" fmla="*/ 77 w 118"/>
                <a:gd name="T39" fmla="*/ 78 h 185"/>
                <a:gd name="T40" fmla="*/ 77 w 118"/>
                <a:gd name="T41" fmla="*/ 16 h 185"/>
                <a:gd name="T42" fmla="*/ 61 w 118"/>
                <a:gd name="T43" fmla="*/ 0 h 185"/>
                <a:gd name="T44" fmla="*/ 58 w 118"/>
                <a:gd name="T45" fmla="*/ 0 h 185"/>
                <a:gd name="T46" fmla="*/ 58 w 118"/>
                <a:gd name="T47" fmla="*/ 0 h 185"/>
                <a:gd name="T48" fmla="*/ 52 w 118"/>
                <a:gd name="T49" fmla="*/ 0 h 185"/>
                <a:gd name="T50" fmla="*/ 38 w 118"/>
                <a:gd name="T51" fmla="*/ 0 h 185"/>
                <a:gd name="T52" fmla="*/ 51 w 118"/>
                <a:gd name="T53" fmla="*/ 14 h 185"/>
                <a:gd name="T54" fmla="*/ 39 w 118"/>
                <a:gd name="T55" fmla="*/ 45 h 185"/>
                <a:gd name="T56" fmla="*/ 23 w 118"/>
                <a:gd name="T57" fmla="*/ 4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" h="185">
                  <a:moveTo>
                    <a:pt x="23" y="46"/>
                  </a:moveTo>
                  <a:cubicBezTo>
                    <a:pt x="23" y="70"/>
                    <a:pt x="23" y="70"/>
                    <a:pt x="23" y="70"/>
                  </a:cubicBezTo>
                  <a:cubicBezTo>
                    <a:pt x="23" y="80"/>
                    <a:pt x="27" y="89"/>
                    <a:pt x="35" y="94"/>
                  </a:cubicBezTo>
                  <a:cubicBezTo>
                    <a:pt x="1" y="167"/>
                    <a:pt x="1" y="167"/>
                    <a:pt x="1" y="167"/>
                  </a:cubicBezTo>
                  <a:cubicBezTo>
                    <a:pt x="0" y="169"/>
                    <a:pt x="1" y="171"/>
                    <a:pt x="3" y="172"/>
                  </a:cubicBezTo>
                  <a:cubicBezTo>
                    <a:pt x="23" y="183"/>
                    <a:pt x="23" y="183"/>
                    <a:pt x="23" y="183"/>
                  </a:cubicBezTo>
                  <a:cubicBezTo>
                    <a:pt x="24" y="183"/>
                    <a:pt x="25" y="183"/>
                    <a:pt x="25" y="183"/>
                  </a:cubicBezTo>
                  <a:cubicBezTo>
                    <a:pt x="25" y="183"/>
                    <a:pt x="26" y="183"/>
                    <a:pt x="26" y="183"/>
                  </a:cubicBezTo>
                  <a:cubicBezTo>
                    <a:pt x="27" y="183"/>
                    <a:pt x="28" y="182"/>
                    <a:pt x="28" y="18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89" y="183"/>
                    <a:pt x="89" y="183"/>
                    <a:pt x="89" y="183"/>
                  </a:cubicBezTo>
                  <a:cubicBezTo>
                    <a:pt x="90" y="184"/>
                    <a:pt x="90" y="184"/>
                    <a:pt x="91" y="185"/>
                  </a:cubicBezTo>
                  <a:cubicBezTo>
                    <a:pt x="92" y="185"/>
                    <a:pt x="92" y="185"/>
                    <a:pt x="92" y="185"/>
                  </a:cubicBezTo>
                  <a:cubicBezTo>
                    <a:pt x="93" y="185"/>
                    <a:pt x="94" y="185"/>
                    <a:pt x="94" y="184"/>
                  </a:cubicBezTo>
                  <a:cubicBezTo>
                    <a:pt x="116" y="175"/>
                    <a:pt x="116" y="175"/>
                    <a:pt x="116" y="175"/>
                  </a:cubicBezTo>
                  <a:cubicBezTo>
                    <a:pt x="116" y="175"/>
                    <a:pt x="117" y="174"/>
                    <a:pt x="118" y="173"/>
                  </a:cubicBezTo>
                  <a:cubicBezTo>
                    <a:pt x="118" y="171"/>
                    <a:pt x="118" y="170"/>
                    <a:pt x="118" y="170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7" y="78"/>
                    <a:pt x="77" y="78"/>
                    <a:pt x="77" y="78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7"/>
                    <a:pt x="70" y="0"/>
                    <a:pt x="6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4" y="3"/>
                    <a:pt x="49" y="7"/>
                    <a:pt x="51" y="14"/>
                  </a:cubicBezTo>
                  <a:cubicBezTo>
                    <a:pt x="57" y="26"/>
                    <a:pt x="51" y="40"/>
                    <a:pt x="39" y="45"/>
                  </a:cubicBezTo>
                  <a:cubicBezTo>
                    <a:pt x="33" y="47"/>
                    <a:pt x="28" y="48"/>
                    <a:pt x="23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1">
              <a:extLst>
                <a:ext uri="{FF2B5EF4-FFF2-40B4-BE49-F238E27FC236}">
                  <a16:creationId xmlns:a16="http://schemas.microsoft.com/office/drawing/2014/main" id="{AA56C957-77C9-4F5E-912D-93C576579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938" y="3832225"/>
              <a:ext cx="39687" cy="53975"/>
            </a:xfrm>
            <a:custGeom>
              <a:avLst/>
              <a:gdLst>
                <a:gd name="T0" fmla="*/ 1 w 14"/>
                <a:gd name="T1" fmla="*/ 7 h 19"/>
                <a:gd name="T2" fmla="*/ 6 w 14"/>
                <a:gd name="T3" fmla="*/ 15 h 19"/>
                <a:gd name="T4" fmla="*/ 9 w 14"/>
                <a:gd name="T5" fmla="*/ 18 h 19"/>
                <a:gd name="T6" fmla="*/ 12 w 14"/>
                <a:gd name="T7" fmla="*/ 19 h 19"/>
                <a:gd name="T8" fmla="*/ 14 w 14"/>
                <a:gd name="T9" fmla="*/ 15 h 19"/>
                <a:gd name="T10" fmla="*/ 13 w 14"/>
                <a:gd name="T11" fmla="*/ 12 h 19"/>
                <a:gd name="T12" fmla="*/ 11 w 14"/>
                <a:gd name="T13" fmla="*/ 5 h 19"/>
                <a:gd name="T14" fmla="*/ 10 w 14"/>
                <a:gd name="T15" fmla="*/ 3 h 19"/>
                <a:gd name="T16" fmla="*/ 7 w 14"/>
                <a:gd name="T17" fmla="*/ 1 h 19"/>
                <a:gd name="T18" fmla="*/ 6 w 14"/>
                <a:gd name="T19" fmla="*/ 1 h 19"/>
                <a:gd name="T20" fmla="*/ 2 w 14"/>
                <a:gd name="T21" fmla="*/ 3 h 19"/>
                <a:gd name="T22" fmla="*/ 1 w 14"/>
                <a:gd name="T23" fmla="*/ 6 h 19"/>
                <a:gd name="T24" fmla="*/ 1 w 14"/>
                <a:gd name="T25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9">
                  <a:moveTo>
                    <a:pt x="1" y="7"/>
                  </a:moveTo>
                  <a:cubicBezTo>
                    <a:pt x="2" y="9"/>
                    <a:pt x="5" y="13"/>
                    <a:pt x="6" y="15"/>
                  </a:cubicBezTo>
                  <a:cubicBezTo>
                    <a:pt x="7" y="16"/>
                    <a:pt x="8" y="17"/>
                    <a:pt x="9" y="18"/>
                  </a:cubicBezTo>
                  <a:cubicBezTo>
                    <a:pt x="11" y="19"/>
                    <a:pt x="11" y="19"/>
                    <a:pt x="12" y="19"/>
                  </a:cubicBezTo>
                  <a:cubicBezTo>
                    <a:pt x="13" y="19"/>
                    <a:pt x="14" y="18"/>
                    <a:pt x="14" y="15"/>
                  </a:cubicBezTo>
                  <a:cubicBezTo>
                    <a:pt x="14" y="14"/>
                    <a:pt x="14" y="12"/>
                    <a:pt x="13" y="12"/>
                  </a:cubicBezTo>
                  <a:cubicBezTo>
                    <a:pt x="13" y="10"/>
                    <a:pt x="12" y="7"/>
                    <a:pt x="11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0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6" y="1"/>
                    <a:pt x="5" y="2"/>
                    <a:pt x="2" y="3"/>
                  </a:cubicBezTo>
                  <a:cubicBezTo>
                    <a:pt x="0" y="4"/>
                    <a:pt x="1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2">
              <a:extLst>
                <a:ext uri="{FF2B5EF4-FFF2-40B4-BE49-F238E27FC236}">
                  <a16:creationId xmlns:a16="http://schemas.microsoft.com/office/drawing/2014/main" id="{534F331A-9E71-493A-B09E-F5FBEE83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7850" y="3806825"/>
              <a:ext cx="93662" cy="123825"/>
            </a:xfrm>
            <a:custGeom>
              <a:avLst/>
              <a:gdLst>
                <a:gd name="T0" fmla="*/ 2 w 33"/>
                <a:gd name="T1" fmla="*/ 1 h 44"/>
                <a:gd name="T2" fmla="*/ 4 w 33"/>
                <a:gd name="T3" fmla="*/ 1 h 44"/>
                <a:gd name="T4" fmla="*/ 29 w 33"/>
                <a:gd name="T5" fmla="*/ 41 h 44"/>
                <a:gd name="T6" fmla="*/ 25 w 33"/>
                <a:gd name="T7" fmla="*/ 44 h 44"/>
                <a:gd name="T8" fmla="*/ 22 w 33"/>
                <a:gd name="T9" fmla="*/ 40 h 44"/>
                <a:gd name="T10" fmla="*/ 2 w 33"/>
                <a:gd name="T11" fmla="*/ 7 h 44"/>
                <a:gd name="T12" fmla="*/ 0 w 33"/>
                <a:gd name="T13" fmla="*/ 3 h 44"/>
                <a:gd name="T14" fmla="*/ 2 w 33"/>
                <a:gd name="T15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4">
                  <a:moveTo>
                    <a:pt x="2" y="1"/>
                  </a:moveTo>
                  <a:cubicBezTo>
                    <a:pt x="2" y="1"/>
                    <a:pt x="3" y="0"/>
                    <a:pt x="4" y="1"/>
                  </a:cubicBezTo>
                  <a:cubicBezTo>
                    <a:pt x="22" y="5"/>
                    <a:pt x="33" y="24"/>
                    <a:pt x="29" y="41"/>
                  </a:cubicBezTo>
                  <a:cubicBezTo>
                    <a:pt x="28" y="43"/>
                    <a:pt x="26" y="44"/>
                    <a:pt x="25" y="44"/>
                  </a:cubicBezTo>
                  <a:cubicBezTo>
                    <a:pt x="23" y="43"/>
                    <a:pt x="22" y="41"/>
                    <a:pt x="22" y="40"/>
                  </a:cubicBezTo>
                  <a:cubicBezTo>
                    <a:pt x="26" y="25"/>
                    <a:pt x="17" y="11"/>
                    <a:pt x="2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3">
              <a:extLst>
                <a:ext uri="{FF2B5EF4-FFF2-40B4-BE49-F238E27FC236}">
                  <a16:creationId xmlns:a16="http://schemas.microsoft.com/office/drawing/2014/main" id="{91DCE745-3475-4B09-8A29-451C11649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9913" y="3752850"/>
              <a:ext cx="157162" cy="209550"/>
            </a:xfrm>
            <a:custGeom>
              <a:avLst/>
              <a:gdLst>
                <a:gd name="T0" fmla="*/ 2 w 56"/>
                <a:gd name="T1" fmla="*/ 1 h 74"/>
                <a:gd name="T2" fmla="*/ 5 w 56"/>
                <a:gd name="T3" fmla="*/ 0 h 74"/>
                <a:gd name="T4" fmla="*/ 48 w 56"/>
                <a:gd name="T5" fmla="*/ 71 h 74"/>
                <a:gd name="T6" fmla="*/ 44 w 56"/>
                <a:gd name="T7" fmla="*/ 73 h 74"/>
                <a:gd name="T8" fmla="*/ 41 w 56"/>
                <a:gd name="T9" fmla="*/ 69 h 74"/>
                <a:gd name="T10" fmla="*/ 3 w 56"/>
                <a:gd name="T11" fmla="*/ 7 h 74"/>
                <a:gd name="T12" fmla="*/ 1 w 56"/>
                <a:gd name="T13" fmla="*/ 3 h 74"/>
                <a:gd name="T14" fmla="*/ 2 w 56"/>
                <a:gd name="T15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74">
                  <a:moveTo>
                    <a:pt x="2" y="1"/>
                  </a:moveTo>
                  <a:cubicBezTo>
                    <a:pt x="3" y="0"/>
                    <a:pt x="4" y="0"/>
                    <a:pt x="5" y="0"/>
                  </a:cubicBezTo>
                  <a:cubicBezTo>
                    <a:pt x="37" y="8"/>
                    <a:pt x="56" y="40"/>
                    <a:pt x="48" y="71"/>
                  </a:cubicBezTo>
                  <a:cubicBezTo>
                    <a:pt x="47" y="73"/>
                    <a:pt x="46" y="74"/>
                    <a:pt x="44" y="73"/>
                  </a:cubicBezTo>
                  <a:cubicBezTo>
                    <a:pt x="42" y="73"/>
                    <a:pt x="41" y="71"/>
                    <a:pt x="41" y="69"/>
                  </a:cubicBezTo>
                  <a:cubicBezTo>
                    <a:pt x="48" y="42"/>
                    <a:pt x="31" y="14"/>
                    <a:pt x="3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1" y="2"/>
                    <a:pt x="2" y="1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4">
              <a:extLst>
                <a:ext uri="{FF2B5EF4-FFF2-40B4-BE49-F238E27FC236}">
                  <a16:creationId xmlns:a16="http://schemas.microsoft.com/office/drawing/2014/main" id="{0DBD00F7-8DA8-4945-ADFC-65C358F0E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4675" y="3702050"/>
              <a:ext cx="209550" cy="279400"/>
            </a:xfrm>
            <a:custGeom>
              <a:avLst/>
              <a:gdLst>
                <a:gd name="T0" fmla="*/ 2 w 74"/>
                <a:gd name="T1" fmla="*/ 1 h 99"/>
                <a:gd name="T2" fmla="*/ 4 w 74"/>
                <a:gd name="T3" fmla="*/ 0 h 99"/>
                <a:gd name="T4" fmla="*/ 63 w 74"/>
                <a:gd name="T5" fmla="*/ 96 h 99"/>
                <a:gd name="T6" fmla="*/ 59 w 74"/>
                <a:gd name="T7" fmla="*/ 99 h 99"/>
                <a:gd name="T8" fmla="*/ 56 w 74"/>
                <a:gd name="T9" fmla="*/ 95 h 99"/>
                <a:gd name="T10" fmla="*/ 3 w 74"/>
                <a:gd name="T11" fmla="*/ 7 h 99"/>
                <a:gd name="T12" fmla="*/ 0 w 74"/>
                <a:gd name="T13" fmla="*/ 3 h 99"/>
                <a:gd name="T14" fmla="*/ 2 w 74"/>
                <a:gd name="T15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99">
                  <a:moveTo>
                    <a:pt x="2" y="1"/>
                  </a:moveTo>
                  <a:cubicBezTo>
                    <a:pt x="3" y="0"/>
                    <a:pt x="4" y="0"/>
                    <a:pt x="4" y="0"/>
                  </a:cubicBezTo>
                  <a:cubicBezTo>
                    <a:pt x="47" y="11"/>
                    <a:pt x="74" y="55"/>
                    <a:pt x="63" y="96"/>
                  </a:cubicBezTo>
                  <a:cubicBezTo>
                    <a:pt x="62" y="98"/>
                    <a:pt x="60" y="99"/>
                    <a:pt x="59" y="99"/>
                  </a:cubicBezTo>
                  <a:cubicBezTo>
                    <a:pt x="57" y="98"/>
                    <a:pt x="56" y="97"/>
                    <a:pt x="56" y="95"/>
                  </a:cubicBezTo>
                  <a:cubicBezTo>
                    <a:pt x="66" y="56"/>
                    <a:pt x="42" y="17"/>
                    <a:pt x="3" y="7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1" y="2"/>
                    <a:pt x="1" y="1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5">
              <a:extLst>
                <a:ext uri="{FF2B5EF4-FFF2-40B4-BE49-F238E27FC236}">
                  <a16:creationId xmlns:a16="http://schemas.microsoft.com/office/drawing/2014/main" id="{F4781993-0475-4715-A374-31A659371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675" y="3973513"/>
              <a:ext cx="169862" cy="44450"/>
            </a:xfrm>
            <a:custGeom>
              <a:avLst/>
              <a:gdLst>
                <a:gd name="T0" fmla="*/ 59 w 60"/>
                <a:gd name="T1" fmla="*/ 9 h 16"/>
                <a:gd name="T2" fmla="*/ 56 w 60"/>
                <a:gd name="T3" fmla="*/ 5 h 16"/>
                <a:gd name="T4" fmla="*/ 47 w 60"/>
                <a:gd name="T5" fmla="*/ 0 h 16"/>
                <a:gd name="T6" fmla="*/ 13 w 60"/>
                <a:gd name="T7" fmla="*/ 0 h 16"/>
                <a:gd name="T8" fmla="*/ 4 w 60"/>
                <a:gd name="T9" fmla="*/ 5 h 16"/>
                <a:gd name="T10" fmla="*/ 1 w 60"/>
                <a:gd name="T11" fmla="*/ 9 h 16"/>
                <a:gd name="T12" fmla="*/ 1 w 60"/>
                <a:gd name="T13" fmla="*/ 14 h 16"/>
                <a:gd name="T14" fmla="*/ 5 w 60"/>
                <a:gd name="T15" fmla="*/ 16 h 16"/>
                <a:gd name="T16" fmla="*/ 55 w 60"/>
                <a:gd name="T17" fmla="*/ 16 h 16"/>
                <a:gd name="T18" fmla="*/ 59 w 60"/>
                <a:gd name="T19" fmla="*/ 14 h 16"/>
                <a:gd name="T20" fmla="*/ 59 w 60"/>
                <a:gd name="T21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6">
                  <a:moveTo>
                    <a:pt x="59" y="9"/>
                  </a:moveTo>
                  <a:cubicBezTo>
                    <a:pt x="56" y="5"/>
                    <a:pt x="56" y="5"/>
                    <a:pt x="56" y="5"/>
                  </a:cubicBezTo>
                  <a:cubicBezTo>
                    <a:pt x="54" y="2"/>
                    <a:pt x="50" y="0"/>
                    <a:pt x="4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0"/>
                    <a:pt x="6" y="2"/>
                    <a:pt x="4" y="5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2"/>
                    <a:pt x="1" y="14"/>
                  </a:cubicBezTo>
                  <a:cubicBezTo>
                    <a:pt x="1" y="15"/>
                    <a:pt x="3" y="16"/>
                    <a:pt x="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7" y="16"/>
                    <a:pt x="58" y="15"/>
                    <a:pt x="59" y="14"/>
                  </a:cubicBezTo>
                  <a:cubicBezTo>
                    <a:pt x="60" y="12"/>
                    <a:pt x="60" y="10"/>
                    <a:pt x="5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6">
              <a:extLst>
                <a:ext uri="{FF2B5EF4-FFF2-40B4-BE49-F238E27FC236}">
                  <a16:creationId xmlns:a16="http://schemas.microsoft.com/office/drawing/2014/main" id="{8CD9A74A-71CB-4190-AF3F-73B50AC75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5138" y="3865563"/>
              <a:ext cx="133350" cy="100013"/>
            </a:xfrm>
            <a:custGeom>
              <a:avLst/>
              <a:gdLst>
                <a:gd name="T0" fmla="*/ 44 w 47"/>
                <a:gd name="T1" fmla="*/ 0 h 35"/>
                <a:gd name="T2" fmla="*/ 34 w 47"/>
                <a:gd name="T3" fmla="*/ 0 h 35"/>
                <a:gd name="T4" fmla="*/ 13 w 47"/>
                <a:gd name="T5" fmla="*/ 0 h 35"/>
                <a:gd name="T6" fmla="*/ 3 w 47"/>
                <a:gd name="T7" fmla="*/ 0 h 35"/>
                <a:gd name="T8" fmla="*/ 0 w 47"/>
                <a:gd name="T9" fmla="*/ 5 h 35"/>
                <a:gd name="T10" fmla="*/ 0 w 47"/>
                <a:gd name="T11" fmla="*/ 15 h 35"/>
                <a:gd name="T12" fmla="*/ 0 w 47"/>
                <a:gd name="T13" fmla="*/ 31 h 35"/>
                <a:gd name="T14" fmla="*/ 3 w 47"/>
                <a:gd name="T15" fmla="*/ 35 h 35"/>
                <a:gd name="T16" fmla="*/ 44 w 47"/>
                <a:gd name="T17" fmla="*/ 35 h 35"/>
                <a:gd name="T18" fmla="*/ 47 w 47"/>
                <a:gd name="T19" fmla="*/ 31 h 35"/>
                <a:gd name="T20" fmla="*/ 47 w 47"/>
                <a:gd name="T21" fmla="*/ 5 h 35"/>
                <a:gd name="T22" fmla="*/ 44 w 47"/>
                <a:gd name="T23" fmla="*/ 0 h 35"/>
                <a:gd name="T24" fmla="*/ 24 w 47"/>
                <a:gd name="T25" fmla="*/ 25 h 35"/>
                <a:gd name="T26" fmla="*/ 13 w 47"/>
                <a:gd name="T27" fmla="*/ 25 h 35"/>
                <a:gd name="T28" fmla="*/ 13 w 47"/>
                <a:gd name="T29" fmla="*/ 12 h 35"/>
                <a:gd name="T30" fmla="*/ 24 w 47"/>
                <a:gd name="T31" fmla="*/ 12 h 35"/>
                <a:gd name="T32" fmla="*/ 24 w 47"/>
                <a:gd name="T33" fmla="*/ 25 h 35"/>
                <a:gd name="T34" fmla="*/ 36 w 47"/>
                <a:gd name="T35" fmla="*/ 19 h 35"/>
                <a:gd name="T36" fmla="*/ 27 w 47"/>
                <a:gd name="T37" fmla="*/ 19 h 35"/>
                <a:gd name="T38" fmla="*/ 27 w 47"/>
                <a:gd name="T39" fmla="*/ 9 h 35"/>
                <a:gd name="T40" fmla="*/ 36 w 47"/>
                <a:gd name="T41" fmla="*/ 9 h 35"/>
                <a:gd name="T42" fmla="*/ 36 w 47"/>
                <a:gd name="T43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" h="35">
                  <a:moveTo>
                    <a:pt x="44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1" y="35"/>
                    <a:pt x="3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6" y="35"/>
                    <a:pt x="47" y="33"/>
                    <a:pt x="47" y="31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2"/>
                    <a:pt x="46" y="0"/>
                    <a:pt x="44" y="0"/>
                  </a:cubicBezTo>
                  <a:close/>
                  <a:moveTo>
                    <a:pt x="24" y="25"/>
                  </a:moveTo>
                  <a:cubicBezTo>
                    <a:pt x="13" y="25"/>
                    <a:pt x="13" y="25"/>
                    <a:pt x="13" y="25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24" y="12"/>
                    <a:pt x="24" y="12"/>
                    <a:pt x="24" y="12"/>
                  </a:cubicBezTo>
                  <a:lnTo>
                    <a:pt x="24" y="25"/>
                  </a:lnTo>
                  <a:close/>
                  <a:moveTo>
                    <a:pt x="36" y="19"/>
                  </a:moveTo>
                  <a:cubicBezTo>
                    <a:pt x="27" y="19"/>
                    <a:pt x="27" y="19"/>
                    <a:pt x="27" y="1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36" y="9"/>
                    <a:pt x="36" y="9"/>
                    <a:pt x="36" y="9"/>
                  </a:cubicBezTo>
                  <a:lnTo>
                    <a:pt x="3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47">
              <a:extLst>
                <a:ext uri="{FF2B5EF4-FFF2-40B4-BE49-F238E27FC236}">
                  <a16:creationId xmlns:a16="http://schemas.microsoft.com/office/drawing/2014/main" id="{73F207E1-3491-47D3-AFFE-04A6A18D3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4675" y="4038600"/>
              <a:ext cx="136525" cy="106363"/>
            </a:xfrm>
            <a:custGeom>
              <a:avLst/>
              <a:gdLst>
                <a:gd name="T0" fmla="*/ 44 w 48"/>
                <a:gd name="T1" fmla="*/ 0 h 38"/>
                <a:gd name="T2" fmla="*/ 41 w 48"/>
                <a:gd name="T3" fmla="*/ 0 h 38"/>
                <a:gd name="T4" fmla="*/ 7 w 48"/>
                <a:gd name="T5" fmla="*/ 0 h 38"/>
                <a:gd name="T6" fmla="*/ 4 w 48"/>
                <a:gd name="T7" fmla="*/ 0 h 38"/>
                <a:gd name="T8" fmla="*/ 0 w 48"/>
                <a:gd name="T9" fmla="*/ 4 h 38"/>
                <a:gd name="T10" fmla="*/ 0 w 48"/>
                <a:gd name="T11" fmla="*/ 9 h 38"/>
                <a:gd name="T12" fmla="*/ 0 w 48"/>
                <a:gd name="T13" fmla="*/ 35 h 38"/>
                <a:gd name="T14" fmla="*/ 4 w 48"/>
                <a:gd name="T15" fmla="*/ 38 h 38"/>
                <a:gd name="T16" fmla="*/ 44 w 48"/>
                <a:gd name="T17" fmla="*/ 38 h 38"/>
                <a:gd name="T18" fmla="*/ 48 w 48"/>
                <a:gd name="T19" fmla="*/ 35 h 38"/>
                <a:gd name="T20" fmla="*/ 48 w 48"/>
                <a:gd name="T21" fmla="*/ 4 h 38"/>
                <a:gd name="T22" fmla="*/ 44 w 48"/>
                <a:gd name="T23" fmla="*/ 0 h 38"/>
                <a:gd name="T24" fmla="*/ 28 w 48"/>
                <a:gd name="T25" fmla="*/ 35 h 38"/>
                <a:gd name="T26" fmla="*/ 20 w 48"/>
                <a:gd name="T27" fmla="*/ 35 h 38"/>
                <a:gd name="T28" fmla="*/ 20 w 48"/>
                <a:gd name="T29" fmla="*/ 33 h 38"/>
                <a:gd name="T30" fmla="*/ 28 w 48"/>
                <a:gd name="T31" fmla="*/ 33 h 38"/>
                <a:gd name="T32" fmla="*/ 28 w 48"/>
                <a:gd name="T33" fmla="*/ 35 h 38"/>
                <a:gd name="T34" fmla="*/ 41 w 48"/>
                <a:gd name="T35" fmla="*/ 30 h 38"/>
                <a:gd name="T36" fmla="*/ 6 w 48"/>
                <a:gd name="T37" fmla="*/ 30 h 38"/>
                <a:gd name="T38" fmla="*/ 6 w 48"/>
                <a:gd name="T39" fmla="*/ 8 h 38"/>
                <a:gd name="T40" fmla="*/ 41 w 48"/>
                <a:gd name="T41" fmla="*/ 8 h 38"/>
                <a:gd name="T42" fmla="*/ 41 w 48"/>
                <a:gd name="T43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38">
                  <a:moveTo>
                    <a:pt x="44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1" y="38"/>
                    <a:pt x="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6" y="38"/>
                    <a:pt x="48" y="37"/>
                    <a:pt x="48" y="35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2"/>
                    <a:pt x="46" y="0"/>
                    <a:pt x="44" y="0"/>
                  </a:cubicBezTo>
                  <a:close/>
                  <a:moveTo>
                    <a:pt x="28" y="35"/>
                  </a:moveTo>
                  <a:cubicBezTo>
                    <a:pt x="20" y="35"/>
                    <a:pt x="20" y="35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8" y="33"/>
                    <a:pt x="28" y="33"/>
                    <a:pt x="28" y="33"/>
                  </a:cubicBezTo>
                  <a:lnTo>
                    <a:pt x="28" y="35"/>
                  </a:lnTo>
                  <a:close/>
                  <a:moveTo>
                    <a:pt x="41" y="30"/>
                  </a:moveTo>
                  <a:cubicBezTo>
                    <a:pt x="6" y="30"/>
                    <a:pt x="6" y="30"/>
                    <a:pt x="6" y="3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41" y="8"/>
                    <a:pt x="41" y="8"/>
                    <a:pt x="41" y="8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FA975655-8370-43CA-BD2A-D6F1D04127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2913" y="4052888"/>
              <a:ext cx="95250" cy="130175"/>
            </a:xfrm>
            <a:custGeom>
              <a:avLst/>
              <a:gdLst>
                <a:gd name="T0" fmla="*/ 20 w 34"/>
                <a:gd name="T1" fmla="*/ 0 h 46"/>
                <a:gd name="T2" fmla="*/ 13 w 34"/>
                <a:gd name="T3" fmla="*/ 3 h 46"/>
                <a:gd name="T4" fmla="*/ 13 w 34"/>
                <a:gd name="T5" fmla="*/ 18 h 46"/>
                <a:gd name="T6" fmla="*/ 0 w 34"/>
                <a:gd name="T7" fmla="*/ 38 h 46"/>
                <a:gd name="T8" fmla="*/ 14 w 34"/>
                <a:gd name="T9" fmla="*/ 46 h 46"/>
                <a:gd name="T10" fmla="*/ 26 w 34"/>
                <a:gd name="T11" fmla="*/ 35 h 46"/>
                <a:gd name="T12" fmla="*/ 34 w 34"/>
                <a:gd name="T13" fmla="*/ 31 h 46"/>
                <a:gd name="T14" fmla="*/ 31 w 34"/>
                <a:gd name="T15" fmla="*/ 0 h 46"/>
                <a:gd name="T16" fmla="*/ 25 w 34"/>
                <a:gd name="T17" fmla="*/ 1 h 46"/>
                <a:gd name="T18" fmla="*/ 21 w 34"/>
                <a:gd name="T19" fmla="*/ 2 h 46"/>
                <a:gd name="T20" fmla="*/ 21 w 34"/>
                <a:gd name="T21" fmla="*/ 30 h 46"/>
                <a:gd name="T22" fmla="*/ 17 w 34"/>
                <a:gd name="T23" fmla="*/ 30 h 46"/>
                <a:gd name="T24" fmla="*/ 17 w 34"/>
                <a:gd name="T25" fmla="*/ 27 h 46"/>
                <a:gd name="T26" fmla="*/ 20 w 34"/>
                <a:gd name="T27" fmla="*/ 27 h 46"/>
                <a:gd name="T28" fmla="*/ 21 w 34"/>
                <a:gd name="T29" fmla="*/ 30 h 46"/>
                <a:gd name="T30" fmla="*/ 20 w 34"/>
                <a:gd name="T31" fmla="*/ 26 h 46"/>
                <a:gd name="T32" fmla="*/ 17 w 34"/>
                <a:gd name="T33" fmla="*/ 26 h 46"/>
                <a:gd name="T34" fmla="*/ 17 w 34"/>
                <a:gd name="T35" fmla="*/ 23 h 46"/>
                <a:gd name="T36" fmla="*/ 21 w 34"/>
                <a:gd name="T37" fmla="*/ 23 h 46"/>
                <a:gd name="T38" fmla="*/ 21 w 34"/>
                <a:gd name="T39" fmla="*/ 22 h 46"/>
                <a:gd name="T40" fmla="*/ 17 w 34"/>
                <a:gd name="T41" fmla="*/ 22 h 46"/>
                <a:gd name="T42" fmla="*/ 17 w 34"/>
                <a:gd name="T43" fmla="*/ 19 h 46"/>
                <a:gd name="T44" fmla="*/ 20 w 34"/>
                <a:gd name="T45" fmla="*/ 19 h 46"/>
                <a:gd name="T46" fmla="*/ 21 w 34"/>
                <a:gd name="T47" fmla="*/ 22 h 46"/>
                <a:gd name="T48" fmla="*/ 25 w 34"/>
                <a:gd name="T49" fmla="*/ 30 h 46"/>
                <a:gd name="T50" fmla="*/ 22 w 34"/>
                <a:gd name="T51" fmla="*/ 30 h 46"/>
                <a:gd name="T52" fmla="*/ 22 w 34"/>
                <a:gd name="T53" fmla="*/ 27 h 46"/>
                <a:gd name="T54" fmla="*/ 25 w 34"/>
                <a:gd name="T55" fmla="*/ 27 h 46"/>
                <a:gd name="T56" fmla="*/ 25 w 34"/>
                <a:gd name="T57" fmla="*/ 26 h 46"/>
                <a:gd name="T58" fmla="*/ 22 w 34"/>
                <a:gd name="T59" fmla="*/ 26 h 46"/>
                <a:gd name="T60" fmla="*/ 22 w 34"/>
                <a:gd name="T61" fmla="*/ 23 h 46"/>
                <a:gd name="T62" fmla="*/ 25 w 34"/>
                <a:gd name="T63" fmla="*/ 23 h 46"/>
                <a:gd name="T64" fmla="*/ 25 w 34"/>
                <a:gd name="T65" fmla="*/ 26 h 46"/>
                <a:gd name="T66" fmla="*/ 25 w 34"/>
                <a:gd name="T67" fmla="*/ 22 h 46"/>
                <a:gd name="T68" fmla="*/ 22 w 34"/>
                <a:gd name="T69" fmla="*/ 22 h 46"/>
                <a:gd name="T70" fmla="*/ 22 w 34"/>
                <a:gd name="T71" fmla="*/ 19 h 46"/>
                <a:gd name="T72" fmla="*/ 25 w 34"/>
                <a:gd name="T73" fmla="*/ 19 h 46"/>
                <a:gd name="T74" fmla="*/ 30 w 34"/>
                <a:gd name="T75" fmla="*/ 30 h 46"/>
                <a:gd name="T76" fmla="*/ 27 w 34"/>
                <a:gd name="T77" fmla="*/ 30 h 46"/>
                <a:gd name="T78" fmla="*/ 27 w 34"/>
                <a:gd name="T79" fmla="*/ 27 h 46"/>
                <a:gd name="T80" fmla="*/ 30 w 34"/>
                <a:gd name="T81" fmla="*/ 27 h 46"/>
                <a:gd name="T82" fmla="*/ 30 w 34"/>
                <a:gd name="T83" fmla="*/ 30 h 46"/>
                <a:gd name="T84" fmla="*/ 30 w 34"/>
                <a:gd name="T85" fmla="*/ 26 h 46"/>
                <a:gd name="T86" fmla="*/ 27 w 34"/>
                <a:gd name="T87" fmla="*/ 26 h 46"/>
                <a:gd name="T88" fmla="*/ 27 w 34"/>
                <a:gd name="T89" fmla="*/ 23 h 46"/>
                <a:gd name="T90" fmla="*/ 30 w 34"/>
                <a:gd name="T91" fmla="*/ 23 h 46"/>
                <a:gd name="T92" fmla="*/ 30 w 34"/>
                <a:gd name="T93" fmla="*/ 22 h 46"/>
                <a:gd name="T94" fmla="*/ 27 w 34"/>
                <a:gd name="T95" fmla="*/ 22 h 46"/>
                <a:gd name="T96" fmla="*/ 27 w 34"/>
                <a:gd name="T97" fmla="*/ 19 h 46"/>
                <a:gd name="T98" fmla="*/ 30 w 34"/>
                <a:gd name="T99" fmla="*/ 19 h 46"/>
                <a:gd name="T100" fmla="*/ 30 w 34"/>
                <a:gd name="T101" fmla="*/ 22 h 46"/>
                <a:gd name="T102" fmla="*/ 17 w 34"/>
                <a:gd name="T103" fmla="*/ 17 h 46"/>
                <a:gd name="T104" fmla="*/ 30 w 34"/>
                <a:gd name="T105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" h="46">
                  <a:moveTo>
                    <a:pt x="3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3" y="1"/>
                    <a:pt x="13" y="3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9" y="45"/>
                    <a:pt x="12" y="46"/>
                    <a:pt x="14" y="46"/>
                  </a:cubicBezTo>
                  <a:cubicBezTo>
                    <a:pt x="18" y="46"/>
                    <a:pt x="22" y="44"/>
                    <a:pt x="24" y="41"/>
                  </a:cubicBezTo>
                  <a:cubicBezTo>
                    <a:pt x="25" y="39"/>
                    <a:pt x="26" y="37"/>
                    <a:pt x="26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3" y="35"/>
                    <a:pt x="34" y="33"/>
                    <a:pt x="34" y="31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1"/>
                    <a:pt x="33" y="0"/>
                    <a:pt x="31" y="0"/>
                  </a:cubicBezTo>
                  <a:close/>
                  <a:moveTo>
                    <a:pt x="21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1" y="2"/>
                    <a:pt x="21" y="2"/>
                    <a:pt x="21" y="2"/>
                  </a:cubicBezTo>
                  <a:lnTo>
                    <a:pt x="21" y="1"/>
                  </a:lnTo>
                  <a:close/>
                  <a:moveTo>
                    <a:pt x="21" y="30"/>
                  </a:moveTo>
                  <a:cubicBezTo>
                    <a:pt x="21" y="30"/>
                    <a:pt x="20" y="30"/>
                    <a:pt x="20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7"/>
                    <a:pt x="21" y="27"/>
                    <a:pt x="21" y="27"/>
                  </a:cubicBezTo>
                  <a:lnTo>
                    <a:pt x="21" y="30"/>
                  </a:lnTo>
                  <a:close/>
                  <a:moveTo>
                    <a:pt x="21" y="26"/>
                  </a:moveTo>
                  <a:cubicBezTo>
                    <a:pt x="21" y="26"/>
                    <a:pt x="20" y="26"/>
                    <a:pt x="2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1" y="23"/>
                    <a:pt x="21" y="23"/>
                  </a:cubicBezTo>
                  <a:lnTo>
                    <a:pt x="21" y="26"/>
                  </a:lnTo>
                  <a:close/>
                  <a:moveTo>
                    <a:pt x="21" y="22"/>
                  </a:moveTo>
                  <a:cubicBezTo>
                    <a:pt x="21" y="22"/>
                    <a:pt x="20" y="22"/>
                    <a:pt x="20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1" y="19"/>
                    <a:pt x="21" y="19"/>
                  </a:cubicBezTo>
                  <a:lnTo>
                    <a:pt x="21" y="22"/>
                  </a:lnTo>
                  <a:close/>
                  <a:moveTo>
                    <a:pt x="25" y="30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lnTo>
                    <a:pt x="25" y="30"/>
                  </a:lnTo>
                  <a:close/>
                  <a:moveTo>
                    <a:pt x="25" y="26"/>
                  </a:moveTo>
                  <a:cubicBezTo>
                    <a:pt x="25" y="26"/>
                    <a:pt x="25" y="26"/>
                    <a:pt x="25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lnTo>
                    <a:pt x="25" y="26"/>
                  </a:lnTo>
                  <a:close/>
                  <a:moveTo>
                    <a:pt x="25" y="22"/>
                  </a:moveTo>
                  <a:cubicBezTo>
                    <a:pt x="25" y="22"/>
                    <a:pt x="25" y="22"/>
                    <a:pt x="25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lnTo>
                    <a:pt x="25" y="22"/>
                  </a:lnTo>
                  <a:close/>
                  <a:moveTo>
                    <a:pt x="30" y="30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lnTo>
                    <a:pt x="30" y="30"/>
                  </a:lnTo>
                  <a:close/>
                  <a:moveTo>
                    <a:pt x="30" y="26"/>
                  </a:moveTo>
                  <a:cubicBezTo>
                    <a:pt x="30" y="26"/>
                    <a:pt x="30" y="26"/>
                    <a:pt x="30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lnTo>
                    <a:pt x="30" y="26"/>
                  </a:lnTo>
                  <a:close/>
                  <a:moveTo>
                    <a:pt x="30" y="22"/>
                  </a:moveTo>
                  <a:cubicBezTo>
                    <a:pt x="30" y="22"/>
                    <a:pt x="30" y="22"/>
                    <a:pt x="30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lnTo>
                    <a:pt x="30" y="22"/>
                  </a:lnTo>
                  <a:close/>
                  <a:moveTo>
                    <a:pt x="30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30" y="4"/>
                    <a:pt x="30" y="4"/>
                    <a:pt x="30" y="4"/>
                  </a:cubicBezTo>
                  <a:lnTo>
                    <a:pt x="3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43610407-BCD0-4363-8C49-5A30B8FCC9FC}"/>
              </a:ext>
            </a:extLst>
          </p:cNvPr>
          <p:cNvCxnSpPr>
            <a:stCxn id="23" idx="4"/>
            <a:endCxn id="5" idx="1"/>
          </p:cNvCxnSpPr>
          <p:nvPr/>
        </p:nvCxnSpPr>
        <p:spPr bwMode="auto">
          <a:xfrm flipV="1">
            <a:off x="965422" y="2981853"/>
            <a:ext cx="897599" cy="368209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F8FA2F5F-5C20-4E3B-A162-A20FD115ABB9}"/>
              </a:ext>
            </a:extLst>
          </p:cNvPr>
          <p:cNvCxnSpPr>
            <a:stCxn id="5" idx="3"/>
          </p:cNvCxnSpPr>
          <p:nvPr/>
        </p:nvCxnSpPr>
        <p:spPr bwMode="auto">
          <a:xfrm flipV="1">
            <a:off x="2546812" y="2555609"/>
            <a:ext cx="1205516" cy="426244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D3D6A39B-CF0C-4FD1-A7BE-CC541C161FAD}"/>
              </a:ext>
            </a:extLst>
          </p:cNvPr>
          <p:cNvCxnSpPr/>
          <p:nvPr/>
        </p:nvCxnSpPr>
        <p:spPr bwMode="auto">
          <a:xfrm flipV="1">
            <a:off x="4303191" y="2157089"/>
            <a:ext cx="1008203" cy="330039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arrow" w="med" len="med"/>
            <a:tailEnd type="arrow"/>
          </a:ln>
          <a:effectLst/>
        </p:spPr>
      </p:cxn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BB8D4350-90DD-43AF-8DA6-4C7B000A9496}"/>
              </a:ext>
            </a:extLst>
          </p:cNvPr>
          <p:cNvSpPr/>
          <p:nvPr/>
        </p:nvSpPr>
        <p:spPr>
          <a:xfrm>
            <a:off x="5617029" y="2068286"/>
            <a:ext cx="1915885" cy="736232"/>
          </a:xfrm>
          <a:custGeom>
            <a:avLst/>
            <a:gdLst>
              <a:gd name="connsiteX0" fmla="*/ 0 w 1915885"/>
              <a:gd name="connsiteY0" fmla="*/ 0 h 736232"/>
              <a:gd name="connsiteX1" fmla="*/ 435428 w 1915885"/>
              <a:gd name="connsiteY1" fmla="*/ 685800 h 736232"/>
              <a:gd name="connsiteX2" fmla="*/ 1915885 w 1915885"/>
              <a:gd name="connsiteY2" fmla="*/ 631371 h 736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15885" h="736232">
                <a:moveTo>
                  <a:pt x="0" y="0"/>
                </a:moveTo>
                <a:cubicBezTo>
                  <a:pt x="58057" y="290286"/>
                  <a:pt x="116114" y="580572"/>
                  <a:pt x="435428" y="685800"/>
                </a:cubicBezTo>
                <a:cubicBezTo>
                  <a:pt x="754742" y="791029"/>
                  <a:pt x="1335313" y="711200"/>
                  <a:pt x="1915885" y="631371"/>
                </a:cubicBezTo>
              </a:path>
            </a:pathLst>
          </a:custGeom>
          <a:noFill/>
          <a:ln w="28575" cap="flat" cmpd="sng" algn="ctr">
            <a:solidFill>
              <a:schemeClr val="accent3"/>
            </a:solidFill>
            <a:prstDash val="solid"/>
            <a:round/>
            <a:headEnd type="arrow" w="med" len="med"/>
            <a:tailEnd type="arrow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47104F14-D306-412F-B421-9DA1E70A3F59}"/>
              </a:ext>
            </a:extLst>
          </p:cNvPr>
          <p:cNvSpPr txBox="1"/>
          <p:nvPr/>
        </p:nvSpPr>
        <p:spPr>
          <a:xfrm>
            <a:off x="3181126" y="3076375"/>
            <a:ext cx="2071593" cy="646331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200" dirty="0">
                <a:latin typeface="Trebuchet MS"/>
                <a:cs typeface="Trebuchet MS" panose="020B0502040204020203" pitchFamily="34" charset="0"/>
              </a:rPr>
              <a:t>Authentication Records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200" dirty="0">
                <a:latin typeface="Trebuchet MS"/>
                <a:cs typeface="Trebuchet MS" panose="020B0502040204020203" pitchFamily="34" charset="0"/>
              </a:rPr>
              <a:t>Troubleshooting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200" dirty="0">
                <a:latin typeface="Trebuchet MS"/>
                <a:cs typeface="Trebuchet MS" panose="020B0502040204020203" pitchFamily="34" charset="0"/>
              </a:rPr>
              <a:t>Access Role Profiles</a:t>
            </a:r>
          </a:p>
        </p:txBody>
      </p:sp>
    </p:spTree>
    <p:extLst>
      <p:ext uri="{BB962C8B-B14F-4D97-AF65-F5344CB8AC3E}">
        <p14:creationId xmlns:p14="http://schemas.microsoft.com/office/powerpoint/2010/main" val="147616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54">
            <a:hlinkClick r:id="rId3"/>
          </p:cNvPr>
          <p:cNvSpPr>
            <a:spLocks noChangeArrowheads="1"/>
          </p:cNvSpPr>
          <p:nvPr/>
        </p:nvSpPr>
        <p:spPr bwMode="auto">
          <a:xfrm>
            <a:off x="1297585" y="2006014"/>
            <a:ext cx="354626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Trebuchet MS" charset="0"/>
                <a:cs typeface="Trebuchet MS" charset="0"/>
              </a:rPr>
              <a:t>linkedin.com/company/</a:t>
            </a:r>
            <a:r>
              <a:rPr lang="en-US" sz="1200" dirty="0" err="1">
                <a:latin typeface="Trebuchet MS" charset="0"/>
                <a:cs typeface="Trebuchet MS" charset="0"/>
              </a:rPr>
              <a:t>alcatellucententerprise</a:t>
            </a:r>
            <a:r>
              <a:rPr lang="en-US" sz="1200" dirty="0">
                <a:latin typeface="Trebuchet MS" charset="0"/>
                <a:cs typeface="Trebuchet MS" charset="0"/>
              </a:rPr>
              <a:t> </a:t>
            </a:r>
          </a:p>
        </p:txBody>
      </p:sp>
      <p:sp>
        <p:nvSpPr>
          <p:cNvPr id="21507" name="TextBox 6">
            <a:hlinkClick r:id="rId4"/>
          </p:cNvPr>
          <p:cNvSpPr txBox="1">
            <a:spLocks noChangeArrowheads="1"/>
          </p:cNvSpPr>
          <p:nvPr/>
        </p:nvSpPr>
        <p:spPr bwMode="auto">
          <a:xfrm>
            <a:off x="1256594" y="2497743"/>
            <a:ext cx="358725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Trebuchet MS" charset="0"/>
              </a:rPr>
              <a:t>twitter.com/</a:t>
            </a:r>
            <a:r>
              <a:rPr lang="en-US" sz="1200" dirty="0" err="1">
                <a:latin typeface="Trebuchet MS" charset="0"/>
              </a:rPr>
              <a:t>ALUEnterprise</a:t>
            </a:r>
            <a:r>
              <a:rPr lang="en-US" sz="1200" dirty="0">
                <a:latin typeface="Trebuchet MS" charset="0"/>
              </a:rPr>
              <a:t> </a:t>
            </a:r>
          </a:p>
        </p:txBody>
      </p:sp>
      <p:sp>
        <p:nvSpPr>
          <p:cNvPr id="21508" name="TextBox 5">
            <a:hlinkClick r:id="rId5"/>
          </p:cNvPr>
          <p:cNvSpPr txBox="1">
            <a:spLocks noChangeArrowheads="1"/>
          </p:cNvSpPr>
          <p:nvPr/>
        </p:nvSpPr>
        <p:spPr bwMode="auto">
          <a:xfrm>
            <a:off x="1297584" y="1561800"/>
            <a:ext cx="35462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Trebuchet MS" charset="0"/>
              </a:rPr>
              <a:t>facebook.com/</a:t>
            </a:r>
            <a:r>
              <a:rPr lang="en-US" sz="1200" dirty="0" err="1">
                <a:latin typeface="Trebuchet MS" charset="0"/>
              </a:rPr>
              <a:t>ALUEnterprise</a:t>
            </a:r>
            <a:endParaRPr lang="en-US" sz="1200" dirty="0">
              <a:latin typeface="Trebuchet MS" charset="0"/>
            </a:endParaRPr>
          </a:p>
        </p:txBody>
      </p:sp>
      <p:sp>
        <p:nvSpPr>
          <p:cNvPr id="21509" name="TextBox 10">
            <a:hlinkClick r:id="rId6"/>
          </p:cNvPr>
          <p:cNvSpPr txBox="1">
            <a:spLocks noChangeArrowheads="1"/>
          </p:cNvSpPr>
          <p:nvPr/>
        </p:nvSpPr>
        <p:spPr bwMode="auto">
          <a:xfrm>
            <a:off x="1256594" y="2925116"/>
            <a:ext cx="358725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latin typeface="Trebuchet MS" charset="0"/>
              </a:rPr>
              <a:t>youtube.com/user/</a:t>
            </a:r>
            <a:r>
              <a:rPr lang="en-US" sz="1200" dirty="0" err="1">
                <a:latin typeface="Trebuchet MS" charset="0"/>
              </a:rPr>
              <a:t>enterpriseALU</a:t>
            </a:r>
            <a:endParaRPr lang="en-US" sz="1200" dirty="0">
              <a:latin typeface="Trebuchet MS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000" y="2916422"/>
            <a:ext cx="312996" cy="32104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000" y="1528462"/>
            <a:ext cx="312996" cy="32104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000" y="1976899"/>
            <a:ext cx="312996" cy="3210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89" y="2467984"/>
            <a:ext cx="312996" cy="32104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297584" y="1128913"/>
            <a:ext cx="362864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1200" dirty="0">
                <a:latin typeface="Trebuchet MS" charset="0"/>
              </a:rPr>
              <a:t>enterprise.alcatel-lucent.co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88191" y="1139471"/>
            <a:ext cx="1096775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34838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2pPr>
            <a:lvl3pPr marL="696777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3pPr>
            <a:lvl4pPr marL="1045165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4pPr>
            <a:lvl5pPr marL="1393554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5pPr>
            <a:lvl6pPr marL="1741943" algn="l" defTabSz="696777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6pPr>
            <a:lvl7pPr marL="2090332" algn="l" defTabSz="696777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7pPr>
            <a:lvl8pPr marL="2438721" algn="l" defTabSz="696777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8pPr>
            <a:lvl9pPr marL="2787109" algn="l" defTabSz="696777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Trebuchet MS" charset="0"/>
              </a:rPr>
              <a:t>Follow us on:</a:t>
            </a:r>
          </a:p>
        </p:txBody>
      </p:sp>
    </p:spTree>
    <p:extLst>
      <p:ext uri="{BB962C8B-B14F-4D97-AF65-F5344CB8AC3E}">
        <p14:creationId xmlns:p14="http://schemas.microsoft.com/office/powerpoint/2010/main" val="163214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266727" y="197531"/>
            <a:ext cx="38587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3200">
                <a:solidFill>
                  <a:schemeClr val="bg1"/>
                </a:solidFill>
                <a:latin typeface="+mj-lt"/>
                <a:cs typeface="BrowalliaUPC" panose="020B0604020202020204" pitchFamily="34" charset="-34"/>
                <a:sym typeface="News Gothic MT" charset="0"/>
              </a:rPr>
              <a:t>Company ownership</a:t>
            </a:r>
            <a:endParaRPr lang="zh-CN" altLang="zh-CN" sz="3200">
              <a:solidFill>
                <a:schemeClr val="bg1"/>
              </a:solidFill>
              <a:latin typeface="+mj-lt"/>
              <a:cs typeface="BrowalliaUPC" panose="020B0604020202020204" pitchFamily="34" charset="-34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dirty="0"/>
              <a:t>WW </a:t>
            </a:r>
            <a:r>
              <a:rPr lang="mr-IN" dirty="0"/>
              <a:t>–</a:t>
            </a:r>
            <a:r>
              <a:rPr lang="en-GB" dirty="0"/>
              <a:t> </a:t>
            </a:r>
            <a:r>
              <a:rPr lang="en-GB" dirty="0">
                <a:solidFill>
                  <a:schemeClr val="accent5"/>
                </a:solidFill>
              </a:rPr>
              <a:t>Enterprise NW </a:t>
            </a:r>
            <a:r>
              <a:rPr lang="en-GB" dirty="0"/>
              <a:t>market</a:t>
            </a:r>
            <a:br>
              <a:rPr lang="en-GB" dirty="0"/>
            </a:br>
            <a:r>
              <a:rPr lang="en-US" sz="1800" b="0" dirty="0"/>
              <a:t>IT Investment Areas Driving Network Innovation </a:t>
            </a:r>
            <a:endParaRPr lang="fr-FR" sz="1800" b="0" dirty="0"/>
          </a:p>
        </p:txBody>
      </p:sp>
      <p:sp>
        <p:nvSpPr>
          <p:cNvPr id="34" name="TextBox 6">
            <a:extLst>
              <a:ext uri="{FF2B5EF4-FFF2-40B4-BE49-F238E27FC236}">
                <a16:creationId xmlns:a16="http://schemas.microsoft.com/office/drawing/2014/main" id="{CD408C84-A562-4A5C-B557-38452E5FA439}"/>
              </a:ext>
            </a:extLst>
          </p:cNvPr>
          <p:cNvSpPr txBox="1"/>
          <p:nvPr/>
        </p:nvSpPr>
        <p:spPr>
          <a:xfrm>
            <a:off x="3957562" y="4566230"/>
            <a:ext cx="6272197" cy="361637"/>
          </a:xfrm>
          <a:prstGeom prst="rect">
            <a:avLst/>
          </a:prstGeom>
          <a:noFill/>
        </p:spPr>
        <p:txBody>
          <a:bodyPr wrap="square" lIns="68580" rtlCol="0" anchor="b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en-US" sz="700" dirty="0"/>
              <a:t>N=1201</a:t>
            </a:r>
          </a:p>
          <a:p>
            <a:pPr>
              <a:buClr>
                <a:schemeClr val="tx2"/>
              </a:buClr>
            </a:pPr>
            <a:r>
              <a:rPr lang="en-US" sz="700" dirty="0"/>
              <a:t>Source: U.S. Enterprise Communications Survey, IDC, March, 2017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F19B8836-A2D1-433A-842E-11E30228079B}"/>
              </a:ext>
            </a:extLst>
          </p:cNvPr>
          <p:cNvSpPr txBox="1">
            <a:spLocks/>
          </p:cNvSpPr>
          <p:nvPr/>
        </p:nvSpPr>
        <p:spPr>
          <a:xfrm>
            <a:off x="380581" y="909350"/>
            <a:ext cx="8012825" cy="35743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charset="2"/>
              <a:buChar char="§"/>
              <a:defRPr lang="en-US" sz="2800" i="0" kern="1200" dirty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Font typeface="Arial"/>
              <a:buChar char="•"/>
              <a:defRPr lang="en-US" sz="2000" i="0" kern="1200" dirty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SzPct val="74000"/>
              <a:buFont typeface="Wingdings" charset="2"/>
              <a:buChar char="§"/>
              <a:defRPr lang="en-US" sz="1800" i="0" kern="1200" dirty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Font typeface="Arial"/>
              <a:buChar char="–"/>
              <a:defRPr lang="en-US" sz="1600" i="0" kern="1200" dirty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bg2"/>
              </a:buClr>
              <a:buFont typeface="Arial"/>
              <a:buChar char="»"/>
              <a:defRPr lang="en-US" sz="1600" i="0" kern="1200" dirty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dirty="0"/>
              <a:t>Does your organization plan to invest in the following areas over the next 3 years?</a:t>
            </a:r>
          </a:p>
        </p:txBody>
      </p:sp>
      <p:pic>
        <p:nvPicPr>
          <p:cNvPr id="36" name="Picture 3">
            <a:extLst>
              <a:ext uri="{FF2B5EF4-FFF2-40B4-BE49-F238E27FC236}">
                <a16:creationId xmlns:a16="http://schemas.microsoft.com/office/drawing/2014/main" id="{5BDD1EC1-86B9-4B48-B2BE-A541E43A8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581" y="1266788"/>
            <a:ext cx="8115300" cy="3236976"/>
          </a:xfrm>
          <a:prstGeom prst="rect">
            <a:avLst/>
          </a:prstGeom>
          <a:noFill/>
          <a:ln w="28575">
            <a:noFill/>
          </a:ln>
        </p:spPr>
      </p:pic>
      <p:pic>
        <p:nvPicPr>
          <p:cNvPr id="50" name="Picture 9">
            <a:extLst>
              <a:ext uri="{FF2B5EF4-FFF2-40B4-BE49-F238E27FC236}">
                <a16:creationId xmlns:a16="http://schemas.microsoft.com/office/drawing/2014/main" id="{F93D2928-485C-441E-A142-E38783B336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6101" y="4567528"/>
            <a:ext cx="1761461" cy="338941"/>
          </a:xfrm>
          <a:prstGeom prst="rect">
            <a:avLst/>
          </a:prstGeom>
        </p:spPr>
      </p:pic>
      <p:sp>
        <p:nvSpPr>
          <p:cNvPr id="52" name="Ellipse 51">
            <a:extLst>
              <a:ext uri="{FF2B5EF4-FFF2-40B4-BE49-F238E27FC236}">
                <a16:creationId xmlns:a16="http://schemas.microsoft.com/office/drawing/2014/main" id="{0F83190A-127F-407A-B493-A90DA0792158}"/>
              </a:ext>
            </a:extLst>
          </p:cNvPr>
          <p:cNvSpPr/>
          <p:nvPr/>
        </p:nvSpPr>
        <p:spPr>
          <a:xfrm>
            <a:off x="1330186" y="1726099"/>
            <a:ext cx="2068107" cy="279779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6725D50F-620D-4F79-87B7-B377B1003ECD}"/>
              </a:ext>
            </a:extLst>
          </p:cNvPr>
          <p:cNvSpPr/>
          <p:nvPr/>
        </p:nvSpPr>
        <p:spPr>
          <a:xfrm>
            <a:off x="319165" y="1368194"/>
            <a:ext cx="865915" cy="204703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262EEC59-0444-4AB4-83C4-E9B7D48ED97C}"/>
              </a:ext>
            </a:extLst>
          </p:cNvPr>
          <p:cNvSpPr/>
          <p:nvPr/>
        </p:nvSpPr>
        <p:spPr>
          <a:xfrm>
            <a:off x="1769967" y="2176461"/>
            <a:ext cx="1717036" cy="204703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DD5D42AB-50EE-430A-BFFD-B77D59786A21}"/>
              </a:ext>
            </a:extLst>
          </p:cNvPr>
          <p:cNvSpPr/>
          <p:nvPr/>
        </p:nvSpPr>
        <p:spPr>
          <a:xfrm>
            <a:off x="2196101" y="2581188"/>
            <a:ext cx="1290902" cy="204703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</a:endParaRP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7ACF5686-98D8-43DA-80DF-CFF2AEF2364A}"/>
              </a:ext>
            </a:extLst>
          </p:cNvPr>
          <p:cNvSpPr/>
          <p:nvPr/>
        </p:nvSpPr>
        <p:spPr>
          <a:xfrm>
            <a:off x="2196101" y="3194908"/>
            <a:ext cx="1290902" cy="204703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</a:endParaRPr>
          </a:p>
        </p:txBody>
      </p:sp>
      <p:sp>
        <p:nvSpPr>
          <p:cNvPr id="15" name="Ellipse 52">
            <a:extLst>
              <a:ext uri="{FF2B5EF4-FFF2-40B4-BE49-F238E27FC236}">
                <a16:creationId xmlns:a16="http://schemas.microsoft.com/office/drawing/2014/main" id="{97072DD8-3138-4450-8AF0-4904C2BA11F7}"/>
              </a:ext>
            </a:extLst>
          </p:cNvPr>
          <p:cNvSpPr/>
          <p:nvPr/>
        </p:nvSpPr>
        <p:spPr>
          <a:xfrm>
            <a:off x="2438503" y="1546888"/>
            <a:ext cx="959790" cy="230893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fr-FR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725386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266727" y="197531"/>
            <a:ext cx="38587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3200">
                <a:solidFill>
                  <a:schemeClr val="bg1"/>
                </a:solidFill>
                <a:latin typeface="+mj-lt"/>
                <a:cs typeface="BrowalliaUPC" panose="020B0604020202020204" pitchFamily="34" charset="-34"/>
                <a:sym typeface="News Gothic MT" charset="0"/>
              </a:rPr>
              <a:t>Company ownership</a:t>
            </a:r>
            <a:endParaRPr lang="zh-CN" altLang="zh-CN" sz="3200">
              <a:solidFill>
                <a:schemeClr val="bg1"/>
              </a:solidFill>
              <a:latin typeface="+mj-lt"/>
              <a:cs typeface="BrowalliaUPC" panose="020B0604020202020204" pitchFamily="34" charset="-34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15899" y="170261"/>
            <a:ext cx="8693207" cy="421877"/>
          </a:xfrm>
        </p:spPr>
        <p:txBody>
          <a:bodyPr/>
          <a:lstStyle/>
          <a:p>
            <a:r>
              <a:rPr lang="en-GB"/>
              <a:t>WW </a:t>
            </a:r>
            <a:r>
              <a:rPr lang="mr-IN"/>
              <a:t>–</a:t>
            </a:r>
            <a:r>
              <a:rPr lang="en-GB"/>
              <a:t> </a:t>
            </a:r>
            <a:r>
              <a:rPr lang="en-GB">
                <a:solidFill>
                  <a:schemeClr val="accent3"/>
                </a:solidFill>
              </a:rPr>
              <a:t>Enterprise NW WLAN</a:t>
            </a:r>
            <a:r>
              <a:rPr lang="en-GB"/>
              <a:t> market - units</a:t>
            </a:r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E7C75ABC-03B9-47AA-B0FF-887CA9620D19}"/>
              </a:ext>
            </a:extLst>
          </p:cNvPr>
          <p:cNvGrpSpPr/>
          <p:nvPr/>
        </p:nvGrpSpPr>
        <p:grpSpPr>
          <a:xfrm>
            <a:off x="550400" y="3446320"/>
            <a:ext cx="2487773" cy="847873"/>
            <a:chOff x="3062514" y="4463190"/>
            <a:chExt cx="3397861" cy="957008"/>
          </a:xfrm>
        </p:grpSpPr>
        <p:pic>
          <p:nvPicPr>
            <p:cNvPr id="3" name="Image 2">
              <a:extLst>
                <a:ext uri="{FF2B5EF4-FFF2-40B4-BE49-F238E27FC236}">
                  <a16:creationId xmlns:a16="http://schemas.microsoft.com/office/drawing/2014/main" id="{859FE0F7-ADF1-44EE-8627-D94A07792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062514" y="4463190"/>
              <a:ext cx="3397861" cy="957008"/>
            </a:xfrm>
            <a:prstGeom prst="rect">
              <a:avLst/>
            </a:prstGeom>
          </p:spPr>
        </p:pic>
        <p:pic>
          <p:nvPicPr>
            <p:cNvPr id="42" name="Picture 31">
              <a:extLst>
                <a:ext uri="{FF2B5EF4-FFF2-40B4-BE49-F238E27FC236}">
                  <a16:creationId xmlns:a16="http://schemas.microsoft.com/office/drawing/2014/main" id="{5CB3899F-C85A-4529-953C-8D3F3DD091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97409" y="4542137"/>
              <a:ext cx="775311" cy="209980"/>
            </a:xfrm>
            <a:prstGeom prst="rect">
              <a:avLst/>
            </a:prstGeom>
          </p:spPr>
        </p:pic>
      </p:grpSp>
      <p:pic>
        <p:nvPicPr>
          <p:cNvPr id="7" name="Image 6">
            <a:extLst>
              <a:ext uri="{FF2B5EF4-FFF2-40B4-BE49-F238E27FC236}">
                <a16:creationId xmlns:a16="http://schemas.microsoft.com/office/drawing/2014/main" id="{5FA876FB-720C-4028-B072-E07942D945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362" y="652904"/>
            <a:ext cx="4197968" cy="2523247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63BACA3B-F26F-4854-93AC-EF297BE3C6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0649" y="2222394"/>
            <a:ext cx="4462853" cy="2523246"/>
          </a:xfrm>
          <a:prstGeom prst="rect">
            <a:avLst/>
          </a:prstGeom>
        </p:spPr>
      </p:pic>
      <p:grpSp>
        <p:nvGrpSpPr>
          <p:cNvPr id="46" name="Group 14">
            <a:extLst>
              <a:ext uri="{FF2B5EF4-FFF2-40B4-BE49-F238E27FC236}">
                <a16:creationId xmlns:a16="http://schemas.microsoft.com/office/drawing/2014/main" id="{314E577B-2EE3-476E-BE31-1E90FF9EDF9C}"/>
              </a:ext>
            </a:extLst>
          </p:cNvPr>
          <p:cNvGrpSpPr/>
          <p:nvPr/>
        </p:nvGrpSpPr>
        <p:grpSpPr>
          <a:xfrm>
            <a:off x="6342077" y="138090"/>
            <a:ext cx="2617857" cy="2185660"/>
            <a:chOff x="13960" y="1594863"/>
            <a:chExt cx="2703724" cy="4173826"/>
          </a:xfrm>
        </p:grpSpPr>
        <p:grpSp>
          <p:nvGrpSpPr>
            <p:cNvPr id="51" name="Group 19">
              <a:extLst>
                <a:ext uri="{FF2B5EF4-FFF2-40B4-BE49-F238E27FC236}">
                  <a16:creationId xmlns:a16="http://schemas.microsoft.com/office/drawing/2014/main" id="{A918073D-A1F2-455A-8E71-90ECE14EDF60}"/>
                </a:ext>
              </a:extLst>
            </p:cNvPr>
            <p:cNvGrpSpPr/>
            <p:nvPr/>
          </p:nvGrpSpPr>
          <p:grpSpPr>
            <a:xfrm>
              <a:off x="13960" y="1594863"/>
              <a:ext cx="2703724" cy="4173826"/>
              <a:chOff x="6229620" y="3031462"/>
              <a:chExt cx="2703724" cy="4436216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D946ABEF-4BF0-4A71-9EA2-8A5255541623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>
              <a:xfrm>
                <a:off x="6229620" y="3031462"/>
                <a:ext cx="2703724" cy="443621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spcBef>
                    <a:spcPts val="0"/>
                  </a:spcBef>
                </a:pPr>
                <a:endParaRPr lang="fr-BE">
                  <a:solidFill>
                    <a:schemeClr val="bg1"/>
                  </a:solidFill>
                  <a:latin typeface="Trebuchet MS" panose="020B0603020202020204" pitchFamily="34" charset="0"/>
                  <a:cs typeface="Trebuchet MS" panose="020B0502040204020203" pitchFamily="34" charset="0"/>
                </a:endParaRPr>
              </a:p>
            </p:txBody>
          </p:sp>
          <p:pic>
            <p:nvPicPr>
              <p:cNvPr id="54" name="Picture 22">
                <a:extLst>
                  <a:ext uri="{FF2B5EF4-FFF2-40B4-BE49-F238E27FC236}">
                    <a16:creationId xmlns:a16="http://schemas.microsoft.com/office/drawing/2014/main" id="{566AA9AE-F504-4766-B41A-7E33134E52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5070" b="18239"/>
              <a:stretch/>
            </p:blipFill>
            <p:spPr>
              <a:xfrm>
                <a:off x="6229621" y="3038699"/>
                <a:ext cx="2703723" cy="1547140"/>
              </a:xfrm>
              <a:prstGeom prst="rect">
                <a:avLst/>
              </a:prstGeom>
            </p:spPr>
          </p:pic>
        </p:grpSp>
        <p:sp>
          <p:nvSpPr>
            <p:cNvPr id="52" name="Content Placeholder 2">
              <a:extLst>
                <a:ext uri="{FF2B5EF4-FFF2-40B4-BE49-F238E27FC236}">
                  <a16:creationId xmlns:a16="http://schemas.microsoft.com/office/drawing/2014/main" id="{1EE4B91E-CA83-4AA6-BF2E-D0C698F330A6}"/>
                </a:ext>
              </a:extLst>
            </p:cNvPr>
            <p:cNvSpPr txBox="1">
              <a:spLocks/>
            </p:cNvSpPr>
            <p:nvPr/>
          </p:nvSpPr>
          <p:spPr>
            <a:xfrm>
              <a:off x="126936" y="2392723"/>
              <a:ext cx="2528876" cy="3216306"/>
            </a:xfrm>
            <a:prstGeom prst="rect">
              <a:avLst/>
            </a:prstGeom>
          </p:spPr>
          <p:txBody>
            <a:bodyPr/>
            <a:lstStyle>
              <a:lvl1pPr marL="180975" indent="-180975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Tx/>
                <a:buSzPct val="80000"/>
                <a:buFont typeface="Trebuchet MS" panose="05000000000000000000" pitchFamily="2" charset="2"/>
                <a:buChar char=""/>
                <a:defRPr sz="15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Trebuchet MS" panose="020B0502040204020203" pitchFamily="34" charset="0"/>
                </a:defRPr>
              </a:lvl1pPr>
              <a:lvl2pPr marL="361950" indent="-180975" algn="l" rtl="0" eaLnBrk="1" fontAlgn="base" hangingPunct="1">
                <a:spcBef>
                  <a:spcPct val="20000"/>
                </a:spcBef>
                <a:spcAft>
                  <a:spcPts val="0"/>
                </a:spcAft>
                <a:buClrTx/>
                <a:buFont typeface="Trebuchet M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Trebuchet MS" panose="020B0603020202020204" pitchFamily="34" charset="0"/>
                  <a:cs typeface="Trebuchet MS" panose="020B0502040204020203" pitchFamily="34" charset="0"/>
                </a:defRPr>
              </a:lvl2pPr>
              <a:lvl3pPr marL="538163" indent="-131763" algn="l" rtl="0" eaLnBrk="1" fontAlgn="base" hangingPunct="1">
                <a:spcBef>
                  <a:spcPts val="329"/>
                </a:spcBef>
                <a:spcAft>
                  <a:spcPts val="0"/>
                </a:spcAft>
                <a:buClrTx/>
                <a:buFont typeface="Trebuchet MS" pitchFamily="34" charset="0"/>
                <a:buChar char="­"/>
                <a:defRPr sz="1200">
                  <a:solidFill>
                    <a:schemeClr val="tx1"/>
                  </a:solidFill>
                  <a:latin typeface="Trebuchet MS" panose="020B0603020202020204" pitchFamily="34" charset="0"/>
                  <a:cs typeface="Trebuchet MS" panose="020B0502040204020203" pitchFamily="34" charset="0"/>
                </a:defRPr>
              </a:lvl3pPr>
              <a:lvl4pPr marL="631825" indent="-85725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Tx/>
                <a:buFont typeface="Trebuchet MS" pitchFamily="34" charset="0"/>
                <a:buChar char="­"/>
                <a:defRPr sz="1100">
                  <a:solidFill>
                    <a:schemeClr val="tx1"/>
                  </a:solidFill>
                  <a:latin typeface="Trebuchet MS" panose="020B0603020202020204" pitchFamily="34" charset="0"/>
                  <a:cs typeface="Trebuchet MS" panose="020B0502040204020203" pitchFamily="34" charset="0"/>
                </a:defRPr>
              </a:lvl4pPr>
              <a:lvl5pPr marL="715963" indent="-84138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Tx/>
                <a:buFont typeface="Trebuchet MS" pitchFamily="34" charset="0"/>
                <a:buChar char="­"/>
                <a:defRPr sz="1100">
                  <a:solidFill>
                    <a:schemeClr val="tx1"/>
                  </a:solidFill>
                  <a:latin typeface="Trebuchet MS" panose="020B0603020202020204" pitchFamily="34" charset="0"/>
                  <a:cs typeface="Trebuchet MS" panose="020B0502040204020203" pitchFamily="34" charset="0"/>
                </a:defRPr>
              </a:lvl5pPr>
              <a:lvl6pPr marL="1093553" indent="-174194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>
                  <a:srgbClr val="6639B7"/>
                </a:buClr>
                <a:buFont typeface="Trebuchet MS" pitchFamily="34" charset="0"/>
                <a:buChar char="­"/>
                <a:defRPr sz="1100">
                  <a:solidFill>
                    <a:schemeClr val="tx1"/>
                  </a:solidFill>
                  <a:latin typeface="Trebuchet MS"/>
                </a:defRPr>
              </a:lvl6pPr>
              <a:lvl7pPr marL="1441942" indent="-174194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>
                  <a:srgbClr val="6639B7"/>
                </a:buClr>
                <a:buFont typeface="Trebuchet MS" pitchFamily="34" charset="0"/>
                <a:buChar char="­"/>
                <a:defRPr sz="1100">
                  <a:solidFill>
                    <a:schemeClr val="tx1"/>
                  </a:solidFill>
                  <a:latin typeface="Trebuchet MS"/>
                </a:defRPr>
              </a:lvl7pPr>
              <a:lvl8pPr marL="1790331" indent="-174194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>
                  <a:srgbClr val="6639B7"/>
                </a:buClr>
                <a:buFont typeface="Trebuchet MS" pitchFamily="34" charset="0"/>
                <a:buChar char="­"/>
                <a:defRPr sz="1100">
                  <a:solidFill>
                    <a:schemeClr val="tx1"/>
                  </a:solidFill>
                  <a:latin typeface="Trebuchet MS"/>
                </a:defRPr>
              </a:lvl8pPr>
              <a:lvl9pPr marL="2138719" indent="-174194" algn="l" rtl="0" eaLnBrk="1" fontAlgn="base" hangingPunct="1">
                <a:spcBef>
                  <a:spcPct val="20000"/>
                </a:spcBef>
                <a:spcAft>
                  <a:spcPct val="30000"/>
                </a:spcAft>
                <a:buClr>
                  <a:srgbClr val="6639B7"/>
                </a:buClr>
                <a:buFont typeface="Trebuchet MS" pitchFamily="34" charset="0"/>
                <a:buChar char="­"/>
                <a:defRPr sz="1100">
                  <a:solidFill>
                    <a:schemeClr val="tx1"/>
                  </a:solidFill>
                  <a:latin typeface="Trebuchet MS"/>
                </a:defRPr>
              </a:lvl9pPr>
            </a:lstStyle>
            <a:p>
              <a:pPr>
                <a:buFont typeface="Wingdings" charset="2"/>
                <a:buChar char="§"/>
              </a:pPr>
              <a:r>
                <a:rPr lang="en-GB" sz="1200" b="1" i="1" kern="0" dirty="0">
                  <a:solidFill>
                    <a:srgbClr val="FFFF00"/>
                  </a:solidFill>
                </a:rPr>
                <a:t>802.11ac wave2 drives the market </a:t>
              </a:r>
            </a:p>
            <a:p>
              <a:pPr>
                <a:buFont typeface="Wingdings" charset="2"/>
                <a:buChar char="§"/>
              </a:pPr>
              <a:r>
                <a:rPr lang="en-GB" sz="1100" b="1" kern="0" dirty="0">
                  <a:solidFill>
                    <a:schemeClr val="bg1"/>
                  </a:solidFill>
                </a:rPr>
                <a:t>802.11ax will arrive by 2019</a:t>
              </a:r>
            </a:p>
            <a:p>
              <a:pPr>
                <a:buFont typeface="Wingdings" charset="2"/>
                <a:buChar char="§"/>
              </a:pPr>
              <a:r>
                <a:rPr lang="en-GB" sz="1100" b="1" kern="0" dirty="0">
                  <a:solidFill>
                    <a:schemeClr val="bg1"/>
                  </a:solidFill>
                </a:rPr>
                <a:t>Managed APs (interactive) represent 80% of the shipped Aps</a:t>
              </a:r>
            </a:p>
            <a:p>
              <a:pPr>
                <a:buFont typeface="Wingdings" charset="2"/>
                <a:buChar char="§"/>
              </a:pPr>
              <a:r>
                <a:rPr lang="en-GB" sz="1100" b="1" kern="0" dirty="0">
                  <a:solidFill>
                    <a:schemeClr val="bg1"/>
                  </a:solidFill>
                </a:rPr>
                <a:t>Outdoor APs shipment keeps on growing</a:t>
              </a:r>
            </a:p>
          </p:txBody>
        </p:sp>
      </p:grpSp>
      <p:sp>
        <p:nvSpPr>
          <p:cNvPr id="55" name="Text Box 55">
            <a:extLst>
              <a:ext uri="{FF2B5EF4-FFF2-40B4-BE49-F238E27FC236}">
                <a16:creationId xmlns:a16="http://schemas.microsoft.com/office/drawing/2014/main" id="{D67EAA3B-7448-43F8-8302-6AD15F161823}"/>
              </a:ext>
            </a:extLst>
          </p:cNvPr>
          <p:cNvSpPr txBox="1"/>
          <p:nvPr/>
        </p:nvSpPr>
        <p:spPr>
          <a:xfrm>
            <a:off x="7171024" y="160856"/>
            <a:ext cx="1009444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fr-FR"/>
            </a:defPPr>
            <a:lvl1pPr>
              <a:defRPr sz="1200">
                <a:solidFill>
                  <a:schemeClr val="bg1">
                    <a:lumMod val="50000"/>
                  </a:schemeClr>
                </a:solidFill>
                <a:latin typeface="Trebuchet MS" panose="020B0606030502030204" pitchFamily="34" charset="0"/>
                <a:ea typeface="Trebuchet MS" panose="020B0300000000000000" pitchFamily="34" charset="-122"/>
              </a:defRPr>
            </a:lvl1pPr>
          </a:lstStyle>
          <a:p>
            <a:pPr algn="ctr"/>
            <a:r>
              <a:rPr lang="en-US" altLang="fr-FR" sz="1400" dirty="0">
                <a:solidFill>
                  <a:schemeClr val="bg1"/>
                </a:solidFill>
                <a:latin typeface="Trebuchet MS"/>
                <a:ea typeface="Trebuchet MS" panose="020B0604020202020204" pitchFamily="34" charset="-128"/>
              </a:rPr>
              <a:t>Key points</a:t>
            </a:r>
            <a:endParaRPr lang="fr-FR" altLang="en-US" sz="1400" dirty="0">
              <a:solidFill>
                <a:schemeClr val="bg1"/>
              </a:solidFill>
              <a:latin typeface="Trebuchet MS"/>
              <a:ea typeface="Trebuchet MS" panose="020B0604020202020204" pitchFamily="34" charset="-128"/>
            </a:endParaRPr>
          </a:p>
        </p:txBody>
      </p:sp>
      <p:sp>
        <p:nvSpPr>
          <p:cNvPr id="56" name="Line 3">
            <a:extLst>
              <a:ext uri="{FF2B5EF4-FFF2-40B4-BE49-F238E27FC236}">
                <a16:creationId xmlns:a16="http://schemas.microsoft.com/office/drawing/2014/main" id="{49B22607-E188-489F-9237-74947DF01C5C}"/>
              </a:ext>
            </a:extLst>
          </p:cNvPr>
          <p:cNvSpPr>
            <a:spLocks noChangeShapeType="1"/>
          </p:cNvSpPr>
          <p:nvPr/>
        </p:nvSpPr>
        <p:spPr bwMode="auto">
          <a:xfrm>
            <a:off x="7823964" y="1281145"/>
            <a:ext cx="848155" cy="0"/>
          </a:xfrm>
          <a:prstGeom prst="line">
            <a:avLst/>
          </a:prstGeom>
          <a:solidFill>
            <a:schemeClr val="accent6"/>
          </a:solidFill>
          <a:ln>
            <a:solidFill>
              <a:schemeClr val="bg1"/>
            </a:solidFill>
            <a:prstDash val="sysDash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endParaRPr lang="fr-FR" altLang="fr-FR" sz="1200">
              <a:latin typeface="Trebuchet MS" panose="020B0603020202020204" pitchFamily="34" charset="0"/>
              <a:ea typeface="Trebuchet MS" panose="020B0604020202020204" pitchFamily="34" charset="-128"/>
              <a:cs typeface="Trebuchet MS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67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2.5/5G Ethernet Adop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39338" y="1175484"/>
            <a:ext cx="4014652" cy="91307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defTabSz="685800" fontAlgn="auto">
              <a:spcBef>
                <a:spcPts val="75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50" dirty="0">
                <a:solidFill>
                  <a:srgbClr val="404040"/>
                </a:solidFill>
                <a:latin typeface="Trebuchet MS" pitchFamily="34"/>
              </a:rPr>
              <a:t>2.5/5G counted as part of 10G by analysts.</a:t>
            </a:r>
          </a:p>
          <a:p>
            <a:pPr defTabSz="685800" fontAlgn="auto">
              <a:spcBef>
                <a:spcPts val="75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50" dirty="0">
                <a:solidFill>
                  <a:srgbClr val="404040"/>
                </a:solidFill>
                <a:latin typeface="Trebuchet MS" pitchFamily="34"/>
              </a:rPr>
              <a:t>As per </a:t>
            </a:r>
            <a:r>
              <a:rPr lang="en-US" sz="1350" dirty="0" err="1">
                <a:solidFill>
                  <a:srgbClr val="404040"/>
                </a:solidFill>
                <a:latin typeface="Trebuchet MS" pitchFamily="34"/>
              </a:rPr>
              <a:t>DellO’ro</a:t>
            </a:r>
            <a:r>
              <a:rPr lang="en-US" sz="1350" dirty="0">
                <a:solidFill>
                  <a:srgbClr val="404040"/>
                </a:solidFill>
                <a:latin typeface="Trebuchet MS" pitchFamily="34"/>
              </a:rPr>
              <a:t> b</a:t>
            </a:r>
            <a:r>
              <a:rPr lang="en-US" sz="1350" dirty="0">
                <a:solidFill>
                  <a:srgbClr val="000000"/>
                </a:solidFill>
                <a:latin typeface="Tahoma" pitchFamily="34"/>
              </a:rPr>
              <a:t>y 2020, more than 50% of overall 10G revenue will be from multi-gigabit in the campus</a:t>
            </a:r>
          </a:p>
        </p:txBody>
      </p:sp>
      <p:graphicFrame>
        <p:nvGraphicFramePr>
          <p:cNvPr id="4" name="Chart 3"/>
          <p:cNvGraphicFramePr/>
          <p:nvPr>
            <p:extLst/>
          </p:nvPr>
        </p:nvGraphicFramePr>
        <p:xfrm>
          <a:off x="4112548" y="1144166"/>
          <a:ext cx="4909169" cy="2330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01682" y="742778"/>
            <a:ext cx="3987797" cy="462371"/>
          </a:xfrm>
          <a:prstGeom prst="rect">
            <a:avLst/>
          </a:prstGeom>
          <a:noFill/>
          <a:ln>
            <a:noFill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defTabSz="685800" fontAlgn="auto">
              <a:spcBef>
                <a:spcPts val="45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50" b="1" dirty="0">
                <a:solidFill>
                  <a:srgbClr val="404040"/>
                </a:solidFill>
                <a:latin typeface="Trebuchet MS" pitchFamily="34"/>
              </a:rPr>
              <a:t>Ports shipment for Fixed Ports</a:t>
            </a:r>
          </a:p>
          <a:p>
            <a:pPr defTabSz="685800" fontAlgn="auto">
              <a:spcBef>
                <a:spcPts val="45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dirty="0">
                <a:solidFill>
                  <a:srgbClr val="404040"/>
                </a:solidFill>
                <a:latin typeface="Trebuchet MS" pitchFamily="34"/>
              </a:rPr>
              <a:t>Source: </a:t>
            </a:r>
            <a:r>
              <a:rPr lang="en-US" sz="788" dirty="0" err="1">
                <a:solidFill>
                  <a:srgbClr val="404040"/>
                </a:solidFill>
                <a:latin typeface="Trebuchet MS" pitchFamily="34"/>
              </a:rPr>
              <a:t>DellO’ro</a:t>
            </a:r>
            <a:r>
              <a:rPr lang="en-US" sz="788" dirty="0">
                <a:solidFill>
                  <a:srgbClr val="404040"/>
                </a:solidFill>
                <a:latin typeface="Trebuchet MS" pitchFamily="34"/>
              </a:rPr>
              <a:t> 5 </a:t>
            </a:r>
            <a:r>
              <a:rPr lang="en-US" sz="788" dirty="0" err="1">
                <a:solidFill>
                  <a:srgbClr val="404040"/>
                </a:solidFill>
                <a:latin typeface="Trebuchet MS" pitchFamily="34"/>
              </a:rPr>
              <a:t>yr</a:t>
            </a:r>
            <a:r>
              <a:rPr lang="en-US" sz="788" dirty="0">
                <a:solidFill>
                  <a:srgbClr val="404040"/>
                </a:solidFill>
                <a:latin typeface="Trebuchet MS" pitchFamily="34"/>
              </a:rPr>
              <a:t> Ethernet Switch Forecast , Jan 2016</a:t>
            </a:r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891523" y="2030832"/>
            <a:ext cx="2617109" cy="241395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993530" y="4365863"/>
            <a:ext cx="2365516" cy="190501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defTabSz="685800" fontAlgn="auto">
              <a:spcBef>
                <a:spcPts val="45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dirty="0">
                <a:solidFill>
                  <a:srgbClr val="404040"/>
                </a:solidFill>
                <a:latin typeface="Trebuchet MS" pitchFamily="34"/>
              </a:rPr>
              <a:t>Source: Dell </a:t>
            </a:r>
            <a:r>
              <a:rPr lang="en-US" sz="788" dirty="0" err="1">
                <a:solidFill>
                  <a:srgbClr val="404040"/>
                </a:solidFill>
                <a:latin typeface="Trebuchet MS" pitchFamily="34"/>
              </a:rPr>
              <a:t>O’ro</a:t>
            </a:r>
            <a:r>
              <a:rPr lang="en-US" sz="788" dirty="0">
                <a:solidFill>
                  <a:srgbClr val="404040"/>
                </a:solidFill>
                <a:latin typeface="Trebuchet MS" pitchFamily="34"/>
              </a:rPr>
              <a:t> 5 </a:t>
            </a:r>
            <a:r>
              <a:rPr lang="en-US" sz="788" dirty="0" err="1">
                <a:solidFill>
                  <a:srgbClr val="404040"/>
                </a:solidFill>
                <a:latin typeface="Trebuchet MS" pitchFamily="34"/>
              </a:rPr>
              <a:t>yr</a:t>
            </a:r>
            <a:r>
              <a:rPr lang="en-US" sz="788" dirty="0">
                <a:solidFill>
                  <a:srgbClr val="404040"/>
                </a:solidFill>
                <a:latin typeface="Trebuchet MS" pitchFamily="34"/>
              </a:rPr>
              <a:t> WLAN Forecast , Jan 2016</a:t>
            </a:r>
          </a:p>
        </p:txBody>
      </p:sp>
      <p:sp>
        <p:nvSpPr>
          <p:cNvPr id="8" name="Rectangle 7"/>
          <p:cNvSpPr/>
          <p:nvPr/>
        </p:nvSpPr>
        <p:spPr>
          <a:xfrm>
            <a:off x="4242491" y="3413633"/>
            <a:ext cx="4457700" cy="1120820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defTabSz="685800" fontAlgn="auto">
              <a:spcBef>
                <a:spcPts val="75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50">
                <a:solidFill>
                  <a:srgbClr val="404040"/>
                </a:solidFill>
                <a:latin typeface="Trebuchet MS" pitchFamily="34"/>
              </a:rPr>
              <a:t>By 2020, number of Enterprise class WLAN infrastructure users will exceed that of Campus users.</a:t>
            </a:r>
          </a:p>
          <a:p>
            <a:pPr defTabSz="685800" fontAlgn="auto">
              <a:spcBef>
                <a:spcPts val="75"/>
              </a:spcBef>
              <a:spcAft>
                <a:spcPts val="0"/>
              </a:spcAft>
              <a:buSzPct val="100000"/>
              <a:buFont typeface="Arial" pitchFamily="34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50">
                <a:solidFill>
                  <a:srgbClr val="404040"/>
                </a:solidFill>
                <a:latin typeface="Trebuchet MS" pitchFamily="34"/>
              </a:rPr>
              <a:t>Combined with 802.11ac wave2 adoption, this will drive a much faster adoption of multi gig on Ethernet switches  </a:t>
            </a:r>
          </a:p>
        </p:txBody>
      </p:sp>
    </p:spTree>
    <p:extLst>
      <p:ext uri="{BB962C8B-B14F-4D97-AF65-F5344CB8AC3E}">
        <p14:creationId xmlns:p14="http://schemas.microsoft.com/office/powerpoint/2010/main" val="183623071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266727" y="197531"/>
            <a:ext cx="38587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altLang="zh-CN" sz="3200" dirty="0">
                <a:solidFill>
                  <a:schemeClr val="bg1"/>
                </a:solidFill>
                <a:latin typeface="+mj-lt"/>
                <a:cs typeface="BrowalliaUPC" panose="020B0604020202020204" pitchFamily="34" charset="-34"/>
                <a:sym typeface="News Gothic MT" charset="0"/>
              </a:rPr>
              <a:t>Company ownership</a:t>
            </a:r>
            <a:endParaRPr lang="zh-CN" altLang="zh-CN" sz="3200" dirty="0">
              <a:solidFill>
                <a:schemeClr val="bg1"/>
              </a:solidFill>
              <a:latin typeface="+mj-lt"/>
              <a:cs typeface="BrowalliaUPC" panose="020B0604020202020204" pitchFamily="34" charset="-34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W </a:t>
            </a:r>
            <a:r>
              <a:rPr lang="mr-IN" dirty="0"/>
              <a:t>–</a:t>
            </a:r>
            <a:r>
              <a:rPr lang="en-GB" dirty="0"/>
              <a:t> </a:t>
            </a:r>
            <a:r>
              <a:rPr lang="en-GB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IoT </a:t>
            </a:r>
            <a:r>
              <a:rPr lang="en-GB" dirty="0"/>
              <a:t>market </a:t>
            </a:r>
            <a:r>
              <a:rPr lang="fr-FR" b="0" dirty="0"/>
              <a:t>- </a:t>
            </a:r>
            <a:r>
              <a:rPr lang="en-US" sz="1800" b="0" dirty="0"/>
              <a:t>Which connectivity protocol do you use or plan to use? (per organization size)</a:t>
            </a:r>
            <a:br>
              <a:rPr lang="en-US" sz="1800" b="0" dirty="0"/>
            </a:br>
            <a:endParaRPr lang="fr-FR" sz="1800" b="0" dirty="0"/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25485756-F037-4981-98F5-058415270617}"/>
              </a:ext>
            </a:extLst>
          </p:cNvPr>
          <p:cNvSpPr txBox="1"/>
          <p:nvPr/>
        </p:nvSpPr>
        <p:spPr>
          <a:xfrm>
            <a:off x="3957562" y="4504491"/>
            <a:ext cx="5617027" cy="369332"/>
          </a:xfrm>
          <a:prstGeom prst="rect">
            <a:avLst/>
          </a:prstGeom>
          <a:noFill/>
        </p:spPr>
        <p:txBody>
          <a:bodyPr wrap="square" lIns="68580" rtlCol="0" anchor="b" anchorCtr="0">
            <a:spAutoFit/>
          </a:bodyPr>
          <a:lstStyle/>
          <a:p>
            <a:pPr>
              <a:lnSpc>
                <a:spcPct val="95000"/>
              </a:lnSpc>
              <a:buClr>
                <a:schemeClr val="tx2"/>
              </a:buClr>
            </a:pPr>
            <a:r>
              <a:rPr lang="en-US" sz="750" dirty="0"/>
              <a:t>
Source: IoT IT Infrastructure Survey, IDC, December, 2016</a:t>
            </a:r>
          </a:p>
        </p:txBody>
      </p:sp>
      <p:sp>
        <p:nvSpPr>
          <p:cNvPr id="12" name="Rounded Rectangle 9">
            <a:extLst>
              <a:ext uri="{FF2B5EF4-FFF2-40B4-BE49-F238E27FC236}">
                <a16:creationId xmlns:a16="http://schemas.microsoft.com/office/drawing/2014/main" id="{2134A75D-0823-4076-8896-BE03A501C358}"/>
              </a:ext>
            </a:extLst>
          </p:cNvPr>
          <p:cNvSpPr/>
          <p:nvPr/>
        </p:nvSpPr>
        <p:spPr>
          <a:xfrm>
            <a:off x="7015163" y="4873823"/>
            <a:ext cx="307181" cy="191360"/>
          </a:xfrm>
          <a:prstGeom prst="roundRect">
            <a:avLst>
              <a:gd name="adj" fmla="val 10275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en-US" sz="750" b="1" dirty="0">
                <a:solidFill>
                  <a:schemeClr val="tx1"/>
                </a:solidFill>
                <a:sym typeface="Wingdings 3" panose="05040102010807070707" pitchFamily="18" charset="2"/>
              </a:rPr>
              <a:t></a:t>
            </a:r>
            <a:r>
              <a:rPr lang="en-US" sz="750" b="1" dirty="0">
                <a:solidFill>
                  <a:schemeClr val="bg1"/>
                </a:solidFill>
                <a:sym typeface="Wingdings 3" panose="05040102010807070707" pitchFamily="18" charset="2"/>
              </a:rPr>
              <a:t> </a:t>
            </a:r>
            <a:r>
              <a:rPr lang="en-US" sz="750" b="1" dirty="0">
                <a:solidFill>
                  <a:schemeClr val="bg1"/>
                </a:solidFill>
                <a:hlinkClick r:id="rId2" action="ppaction://hlinksldjump"/>
              </a:rPr>
              <a:t>ToC</a:t>
            </a:r>
            <a:endParaRPr lang="en-US" sz="750" b="1" dirty="0">
              <a:solidFill>
                <a:schemeClr val="bg1"/>
              </a:solidFill>
            </a:endParaRP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6653B356-1BB7-4A8E-8374-0673F2F17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6101" y="4567528"/>
            <a:ext cx="1761461" cy="338941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602F61E2-1F6B-4EE6-B760-6AD4589380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083" y="1026253"/>
            <a:ext cx="6586519" cy="327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20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9DD009-FE48-4CEE-AE6B-F67689FDA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802.11 an endless evolution</a:t>
            </a:r>
          </a:p>
        </p:txBody>
      </p:sp>
      <p:sp>
        <p:nvSpPr>
          <p:cNvPr id="9" name="Forma libre: forma 8">
            <a:extLst>
              <a:ext uri="{FF2B5EF4-FFF2-40B4-BE49-F238E27FC236}">
                <a16:creationId xmlns:a16="http://schemas.microsoft.com/office/drawing/2014/main" id="{637FA994-D48F-402F-99F0-01C74FF82BB7}"/>
              </a:ext>
            </a:extLst>
          </p:cNvPr>
          <p:cNvSpPr/>
          <p:nvPr/>
        </p:nvSpPr>
        <p:spPr>
          <a:xfrm>
            <a:off x="889850" y="1052893"/>
            <a:ext cx="7889965" cy="3357880"/>
          </a:xfrm>
          <a:custGeom>
            <a:avLst/>
            <a:gdLst>
              <a:gd name="connsiteX0" fmla="*/ 0 w 7889965"/>
              <a:gd name="connsiteY0" fmla="*/ 0 h 3230880"/>
              <a:gd name="connsiteX1" fmla="*/ 0 w 7889965"/>
              <a:gd name="connsiteY1" fmla="*/ 3230880 h 3230880"/>
              <a:gd name="connsiteX2" fmla="*/ 7889965 w 7889965"/>
              <a:gd name="connsiteY2" fmla="*/ 3230880 h 3230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89965" h="3230880">
                <a:moveTo>
                  <a:pt x="0" y="0"/>
                </a:moveTo>
                <a:lnTo>
                  <a:pt x="0" y="3230880"/>
                </a:lnTo>
                <a:lnTo>
                  <a:pt x="7889965" y="3230880"/>
                </a:lnTo>
              </a:path>
            </a:pathLst>
          </a:custGeom>
          <a:noFill/>
          <a:ln w="50800">
            <a:solidFill>
              <a:schemeClr val="accent3"/>
            </a:solidFill>
            <a:headEnd type="arrow"/>
            <a:tailEnd type="arrow"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1581AB4-662F-4324-93D4-1A6FE6D7407B}"/>
              </a:ext>
            </a:extLst>
          </p:cNvPr>
          <p:cNvSpPr txBox="1"/>
          <p:nvPr/>
        </p:nvSpPr>
        <p:spPr>
          <a:xfrm>
            <a:off x="8297914" y="4420144"/>
            <a:ext cx="255198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accent3"/>
                </a:solidFill>
                <a:latin typeface="Trebuchet MS"/>
                <a:cs typeface="Trebuchet MS" panose="020B0502040204020203" pitchFamily="34" charset="0"/>
              </a:rPr>
              <a:t>t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F33EEF7-B622-4EE0-A604-6CBB90AE3E2A}"/>
              </a:ext>
            </a:extLst>
          </p:cNvPr>
          <p:cNvSpPr txBox="1"/>
          <p:nvPr/>
        </p:nvSpPr>
        <p:spPr>
          <a:xfrm>
            <a:off x="811261" y="976539"/>
            <a:ext cx="1514931" cy="30777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2400" dirty="0">
                <a:solidFill>
                  <a:schemeClr val="accent3"/>
                </a:solidFill>
                <a:latin typeface="Trebuchet MS"/>
                <a:cs typeface="Trebuchet MS" panose="020B0502040204020203" pitchFamily="34" charset="0"/>
              </a:rPr>
              <a:t>GHz/bp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440F6285-EB27-403E-94E7-A19E53A352A8}"/>
              </a:ext>
            </a:extLst>
          </p:cNvPr>
          <p:cNvSpPr txBox="1"/>
          <p:nvPr/>
        </p:nvSpPr>
        <p:spPr>
          <a:xfrm>
            <a:off x="1421769" y="3910449"/>
            <a:ext cx="7184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g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599792F-E289-4381-9735-E50ACB283C85}"/>
              </a:ext>
            </a:extLst>
          </p:cNvPr>
          <p:cNvSpPr txBox="1"/>
          <p:nvPr/>
        </p:nvSpPr>
        <p:spPr>
          <a:xfrm>
            <a:off x="850343" y="3912811"/>
            <a:ext cx="7216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672233C-EE3E-4CC6-988B-9D6A716E990A}"/>
              </a:ext>
            </a:extLst>
          </p:cNvPr>
          <p:cNvSpPr txBox="1"/>
          <p:nvPr/>
        </p:nvSpPr>
        <p:spPr>
          <a:xfrm>
            <a:off x="1961817" y="3368933"/>
            <a:ext cx="7248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n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6908CF5-A7F4-47D8-AD89-EEB125EDB977}"/>
              </a:ext>
            </a:extLst>
          </p:cNvPr>
          <p:cNvSpPr txBox="1"/>
          <p:nvPr/>
        </p:nvSpPr>
        <p:spPr>
          <a:xfrm>
            <a:off x="3084712" y="2780506"/>
            <a:ext cx="10663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c-W1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90873B2-B190-4428-89F7-2A7BE8BB6796}"/>
              </a:ext>
            </a:extLst>
          </p:cNvPr>
          <p:cNvSpPr txBox="1"/>
          <p:nvPr/>
        </p:nvSpPr>
        <p:spPr>
          <a:xfrm>
            <a:off x="3908465" y="2351367"/>
            <a:ext cx="10663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c-W2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415D2B8-1A80-42EC-B33E-542E3A60FBE9}"/>
              </a:ext>
            </a:extLst>
          </p:cNvPr>
          <p:cNvSpPr txBox="1"/>
          <p:nvPr/>
        </p:nvSpPr>
        <p:spPr>
          <a:xfrm>
            <a:off x="4302284" y="4112110"/>
            <a:ext cx="16133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h - </a:t>
            </a:r>
            <a:r>
              <a:rPr lang="en-US" sz="1200" dirty="0" err="1">
                <a:latin typeface="Trebuchet MS"/>
                <a:cs typeface="Trebuchet MS" panose="020B0502040204020203" pitchFamily="34" charset="0"/>
              </a:rPr>
              <a:t>IoT</a:t>
            </a:r>
            <a:r>
              <a:rPr lang="en-US" sz="1200" dirty="0">
                <a:latin typeface="Trebuchet MS"/>
                <a:cs typeface="Trebuchet MS" panose="020B0502040204020203" pitchFamily="34" charset="0"/>
              </a:rPr>
              <a:t> WLAN</a:t>
            </a:r>
          </a:p>
        </p:txBody>
      </p: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43096EF7-7E3C-4826-AE89-A769CEEE7F11}"/>
              </a:ext>
            </a:extLst>
          </p:cNvPr>
          <p:cNvCxnSpPr>
            <a:cxnSpLocks/>
            <a:stCxn id="23" idx="0"/>
          </p:cNvCxnSpPr>
          <p:nvPr/>
        </p:nvCxnSpPr>
        <p:spPr bwMode="auto">
          <a:xfrm flipV="1">
            <a:off x="976182" y="4095751"/>
            <a:ext cx="0" cy="3475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E7EBB07-C3DC-464F-976A-7481F41C284D}"/>
              </a:ext>
            </a:extLst>
          </p:cNvPr>
          <p:cNvSpPr txBox="1"/>
          <p:nvPr/>
        </p:nvSpPr>
        <p:spPr>
          <a:xfrm>
            <a:off x="749197" y="4443301"/>
            <a:ext cx="4539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1999</a:t>
            </a: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5BF79B8C-4AAD-46B1-B26D-12827E0972CD}"/>
              </a:ext>
            </a:extLst>
          </p:cNvPr>
          <p:cNvGrpSpPr/>
          <p:nvPr/>
        </p:nvGrpSpPr>
        <p:grpSpPr>
          <a:xfrm>
            <a:off x="1323434" y="4095750"/>
            <a:ext cx="453970" cy="593772"/>
            <a:chOff x="1071152" y="4038600"/>
            <a:chExt cx="453970" cy="593772"/>
          </a:xfrm>
        </p:grpSpPr>
        <p:cxnSp>
          <p:nvCxnSpPr>
            <p:cNvPr id="24" name="Conector recto 23">
              <a:extLst>
                <a:ext uri="{FF2B5EF4-FFF2-40B4-BE49-F238E27FC236}">
                  <a16:creationId xmlns:a16="http://schemas.microsoft.com/office/drawing/2014/main" id="{8B303A85-A0E9-4A4B-8354-509238AB3DE8}"/>
                </a:ext>
              </a:extLst>
            </p:cNvPr>
            <p:cNvCxnSpPr>
              <a:cxnSpLocks/>
              <a:stCxn id="27" idx="0"/>
            </p:cNvCxnSpPr>
            <p:nvPr/>
          </p:nvCxnSpPr>
          <p:spPr bwMode="auto">
            <a:xfrm flipV="1">
              <a:off x="1298137" y="4038600"/>
              <a:ext cx="0" cy="347551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00A62678-C10E-43EE-9895-71EFAEA953CC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03</a:t>
              </a:r>
            </a:p>
          </p:txBody>
        </p: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E231418D-BE69-4F55-A445-BACBCE9FB531}"/>
              </a:ext>
            </a:extLst>
          </p:cNvPr>
          <p:cNvGrpSpPr/>
          <p:nvPr/>
        </p:nvGrpSpPr>
        <p:grpSpPr>
          <a:xfrm>
            <a:off x="1863756" y="3569970"/>
            <a:ext cx="453970" cy="1119552"/>
            <a:chOff x="1071152" y="3512820"/>
            <a:chExt cx="453970" cy="1119552"/>
          </a:xfrm>
        </p:grpSpPr>
        <p:cxnSp>
          <p:nvCxnSpPr>
            <p:cNvPr id="36" name="Conector recto 35">
              <a:extLst>
                <a:ext uri="{FF2B5EF4-FFF2-40B4-BE49-F238E27FC236}">
                  <a16:creationId xmlns:a16="http://schemas.microsoft.com/office/drawing/2014/main" id="{1A2C7EEC-AE2A-493D-8D0B-0A5C47DA75FA}"/>
                </a:ext>
              </a:extLst>
            </p:cNvPr>
            <p:cNvCxnSpPr>
              <a:cxnSpLocks/>
              <a:stCxn id="37" idx="0"/>
            </p:cNvCxnSpPr>
            <p:nvPr/>
          </p:nvCxnSpPr>
          <p:spPr bwMode="auto">
            <a:xfrm flipV="1">
              <a:off x="1298137" y="3512820"/>
              <a:ext cx="0" cy="873331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37" name="CuadroTexto 36">
              <a:extLst>
                <a:ext uri="{FF2B5EF4-FFF2-40B4-BE49-F238E27FC236}">
                  <a16:creationId xmlns:a16="http://schemas.microsoft.com/office/drawing/2014/main" id="{4E754B34-CA59-47DD-9FEF-05FF9F3ABDCC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09</a:t>
              </a:r>
            </a:p>
          </p:txBody>
        </p:sp>
      </p:grpSp>
      <p:sp>
        <p:nvSpPr>
          <p:cNvPr id="40" name="CuadroTexto 39">
            <a:extLst>
              <a:ext uri="{FF2B5EF4-FFF2-40B4-BE49-F238E27FC236}">
                <a16:creationId xmlns:a16="http://schemas.microsoft.com/office/drawing/2014/main" id="{EFFF0C8B-820F-407E-B856-0EE90FB70DC6}"/>
              </a:ext>
            </a:extLst>
          </p:cNvPr>
          <p:cNvSpPr txBox="1"/>
          <p:nvPr/>
        </p:nvSpPr>
        <p:spPr>
          <a:xfrm>
            <a:off x="159579" y="3925837"/>
            <a:ext cx="77296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5-2,4/54M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EC046D89-FA04-4310-AAC3-DAC275584019}"/>
              </a:ext>
            </a:extLst>
          </p:cNvPr>
          <p:cNvSpPr txBox="1"/>
          <p:nvPr/>
        </p:nvSpPr>
        <p:spPr>
          <a:xfrm>
            <a:off x="106239" y="3384321"/>
            <a:ext cx="8402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5-2,4/150M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15540BB3-8E72-4519-8786-4D7F52EC623F}"/>
              </a:ext>
            </a:extLst>
          </p:cNvPr>
          <p:cNvSpPr txBox="1"/>
          <p:nvPr/>
        </p:nvSpPr>
        <p:spPr>
          <a:xfrm>
            <a:off x="361760" y="2795894"/>
            <a:ext cx="5870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5/1,3G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97B9D742-4DE7-4CA9-9303-4D44237A8FE1}"/>
              </a:ext>
            </a:extLst>
          </p:cNvPr>
          <p:cNvSpPr txBox="1"/>
          <p:nvPr/>
        </p:nvSpPr>
        <p:spPr>
          <a:xfrm>
            <a:off x="361760" y="2366755"/>
            <a:ext cx="5870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5/3,4G</a:t>
            </a:r>
          </a:p>
        </p:txBody>
      </p:sp>
      <p:grpSp>
        <p:nvGrpSpPr>
          <p:cNvPr id="44" name="Grupo 43">
            <a:extLst>
              <a:ext uri="{FF2B5EF4-FFF2-40B4-BE49-F238E27FC236}">
                <a16:creationId xmlns:a16="http://schemas.microsoft.com/office/drawing/2014/main" id="{2DDE81C9-3109-4E8A-ADC3-F7EEFB8A295A}"/>
              </a:ext>
            </a:extLst>
          </p:cNvPr>
          <p:cNvGrpSpPr/>
          <p:nvPr/>
        </p:nvGrpSpPr>
        <p:grpSpPr>
          <a:xfrm>
            <a:off x="2981294" y="2978151"/>
            <a:ext cx="453970" cy="1711371"/>
            <a:chOff x="1071152" y="2921001"/>
            <a:chExt cx="453970" cy="1711371"/>
          </a:xfrm>
        </p:grpSpPr>
        <p:cxnSp>
          <p:nvCxnSpPr>
            <p:cNvPr id="45" name="Conector recto 44">
              <a:extLst>
                <a:ext uri="{FF2B5EF4-FFF2-40B4-BE49-F238E27FC236}">
                  <a16:creationId xmlns:a16="http://schemas.microsoft.com/office/drawing/2014/main" id="{972FC658-5AC5-4C36-AB07-6E914C547401}"/>
                </a:ext>
              </a:extLst>
            </p:cNvPr>
            <p:cNvCxnSpPr>
              <a:cxnSpLocks/>
              <a:stCxn id="46" idx="0"/>
            </p:cNvCxnSpPr>
            <p:nvPr/>
          </p:nvCxnSpPr>
          <p:spPr bwMode="auto">
            <a:xfrm flipV="1">
              <a:off x="1298137" y="2921001"/>
              <a:ext cx="0" cy="146515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7DA100F8-6CA0-4113-9D02-50D7681F8F58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3</a:t>
              </a:r>
            </a:p>
          </p:txBody>
        </p:sp>
      </p:grpSp>
      <p:grpSp>
        <p:nvGrpSpPr>
          <p:cNvPr id="49" name="Grupo 48">
            <a:extLst>
              <a:ext uri="{FF2B5EF4-FFF2-40B4-BE49-F238E27FC236}">
                <a16:creationId xmlns:a16="http://schemas.microsoft.com/office/drawing/2014/main" id="{8AC2F432-EC23-43F9-B49B-A4711D424F64}"/>
              </a:ext>
            </a:extLst>
          </p:cNvPr>
          <p:cNvGrpSpPr/>
          <p:nvPr/>
        </p:nvGrpSpPr>
        <p:grpSpPr>
          <a:xfrm>
            <a:off x="3799811" y="2548890"/>
            <a:ext cx="453970" cy="2140632"/>
            <a:chOff x="1071152" y="2491740"/>
            <a:chExt cx="453970" cy="2140632"/>
          </a:xfrm>
        </p:grpSpPr>
        <p:cxnSp>
          <p:nvCxnSpPr>
            <p:cNvPr id="50" name="Conector recto 49">
              <a:extLst>
                <a:ext uri="{FF2B5EF4-FFF2-40B4-BE49-F238E27FC236}">
                  <a16:creationId xmlns:a16="http://schemas.microsoft.com/office/drawing/2014/main" id="{1ECC4046-A422-4363-888C-5825DAE1A358}"/>
                </a:ext>
              </a:extLst>
            </p:cNvPr>
            <p:cNvCxnSpPr>
              <a:cxnSpLocks/>
              <a:stCxn id="51" idx="0"/>
            </p:cNvCxnSpPr>
            <p:nvPr/>
          </p:nvCxnSpPr>
          <p:spPr bwMode="auto">
            <a:xfrm flipV="1">
              <a:off x="1298137" y="2491740"/>
              <a:ext cx="0" cy="1894411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51" name="CuadroTexto 50">
              <a:extLst>
                <a:ext uri="{FF2B5EF4-FFF2-40B4-BE49-F238E27FC236}">
                  <a16:creationId xmlns:a16="http://schemas.microsoft.com/office/drawing/2014/main" id="{13E2CF1D-0F79-402E-9E27-F490C7C8B9FC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5</a:t>
              </a:r>
            </a:p>
          </p:txBody>
        </p:sp>
      </p:grpSp>
      <p:sp>
        <p:nvSpPr>
          <p:cNvPr id="53" name="CuadroTexto 52">
            <a:extLst>
              <a:ext uri="{FF2B5EF4-FFF2-40B4-BE49-F238E27FC236}">
                <a16:creationId xmlns:a16="http://schemas.microsoft.com/office/drawing/2014/main" id="{AC441A01-0701-4C43-9F4E-C22ED626E660}"/>
              </a:ext>
            </a:extLst>
          </p:cNvPr>
          <p:cNvSpPr txBox="1"/>
          <p:nvPr/>
        </p:nvSpPr>
        <p:spPr>
          <a:xfrm>
            <a:off x="2680550" y="1951746"/>
            <a:ext cx="30065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d (</a:t>
            </a:r>
            <a:r>
              <a:rPr lang="en-US" sz="1200" dirty="0" err="1">
                <a:latin typeface="Trebuchet MS"/>
                <a:cs typeface="Trebuchet MS" panose="020B0502040204020203" pitchFamily="34" charset="0"/>
              </a:rPr>
              <a:t>WiGig</a:t>
            </a:r>
            <a:r>
              <a:rPr lang="en-US" sz="1200" dirty="0">
                <a:latin typeface="Trebuchet MS"/>
                <a:cs typeface="Trebuchet MS" panose="020B0502040204020203" pitchFamily="34" charset="0"/>
              </a:rPr>
              <a:t> vs </a:t>
            </a:r>
            <a:r>
              <a:rPr lang="en-US" sz="1200" dirty="0" err="1">
                <a:latin typeface="Trebuchet MS"/>
                <a:cs typeface="Trebuchet MS" panose="020B0502040204020203" pitchFamily="34" charset="0"/>
              </a:rPr>
              <a:t>WirelessHD</a:t>
            </a:r>
            <a:r>
              <a:rPr lang="en-US" sz="1200" dirty="0">
                <a:latin typeface="Trebuchet MS"/>
                <a:cs typeface="Trebuchet MS" panose="020B0502040204020203" pitchFamily="34" charset="0"/>
              </a:rPr>
              <a:t>/</a:t>
            </a:r>
            <a:r>
              <a:rPr lang="en-US" sz="1200" dirty="0" err="1">
                <a:latin typeface="Trebuchet MS"/>
                <a:cs typeface="Trebuchet MS" panose="020B0502040204020203" pitchFamily="34" charset="0"/>
              </a:rPr>
              <a:t>UltraGig</a:t>
            </a:r>
            <a:r>
              <a:rPr lang="en-US" sz="1200" dirty="0">
                <a:latin typeface="Trebuchet MS"/>
                <a:cs typeface="Trebuchet MS" panose="020B0502040204020203" pitchFamily="34" charset="0"/>
              </a:rPr>
              <a:t>)</a:t>
            </a:r>
          </a:p>
        </p:txBody>
      </p:sp>
      <p:grpSp>
        <p:nvGrpSpPr>
          <p:cNvPr id="54" name="Grupo 53">
            <a:extLst>
              <a:ext uri="{FF2B5EF4-FFF2-40B4-BE49-F238E27FC236}">
                <a16:creationId xmlns:a16="http://schemas.microsoft.com/office/drawing/2014/main" id="{86A5FE3A-A6FF-4CBE-ACDB-29E9404F4F81}"/>
              </a:ext>
            </a:extLst>
          </p:cNvPr>
          <p:cNvGrpSpPr/>
          <p:nvPr/>
        </p:nvGrpSpPr>
        <p:grpSpPr>
          <a:xfrm>
            <a:off x="2591643" y="2155916"/>
            <a:ext cx="453970" cy="2533606"/>
            <a:chOff x="1071152" y="2098766"/>
            <a:chExt cx="453970" cy="2533606"/>
          </a:xfrm>
        </p:grpSpPr>
        <p:cxnSp>
          <p:nvCxnSpPr>
            <p:cNvPr id="55" name="Conector recto 54">
              <a:extLst>
                <a:ext uri="{FF2B5EF4-FFF2-40B4-BE49-F238E27FC236}">
                  <a16:creationId xmlns:a16="http://schemas.microsoft.com/office/drawing/2014/main" id="{9141472B-22AB-4CCC-92AC-DED0E3659C9E}"/>
                </a:ext>
              </a:extLst>
            </p:cNvPr>
            <p:cNvCxnSpPr>
              <a:cxnSpLocks/>
              <a:stCxn id="56" idx="0"/>
            </p:cNvCxnSpPr>
            <p:nvPr/>
          </p:nvCxnSpPr>
          <p:spPr bwMode="auto">
            <a:xfrm flipV="1">
              <a:off x="1298137" y="2098766"/>
              <a:ext cx="0" cy="2287385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497BF5C8-6019-45F6-958E-F4998440D4EA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2</a:t>
              </a:r>
            </a:p>
          </p:txBody>
        </p:sp>
      </p:grpSp>
      <p:sp>
        <p:nvSpPr>
          <p:cNvPr id="58" name="CuadroTexto 57">
            <a:extLst>
              <a:ext uri="{FF2B5EF4-FFF2-40B4-BE49-F238E27FC236}">
                <a16:creationId xmlns:a16="http://schemas.microsoft.com/office/drawing/2014/main" id="{3C575989-CF06-49AA-AE25-8D608D1D983F}"/>
              </a:ext>
            </a:extLst>
          </p:cNvPr>
          <p:cNvSpPr txBox="1"/>
          <p:nvPr/>
        </p:nvSpPr>
        <p:spPr>
          <a:xfrm>
            <a:off x="294434" y="1971216"/>
            <a:ext cx="6543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60/6,7G</a:t>
            </a:r>
          </a:p>
        </p:txBody>
      </p:sp>
      <p:cxnSp>
        <p:nvCxnSpPr>
          <p:cNvPr id="62" name="Conector recto 61">
            <a:extLst>
              <a:ext uri="{FF2B5EF4-FFF2-40B4-BE49-F238E27FC236}">
                <a16:creationId xmlns:a16="http://schemas.microsoft.com/office/drawing/2014/main" id="{2006EC33-7999-49A9-983C-D30941AB5D94}"/>
              </a:ext>
            </a:extLst>
          </p:cNvPr>
          <p:cNvCxnSpPr>
            <a:cxnSpLocks/>
          </p:cNvCxnSpPr>
          <p:nvPr/>
        </p:nvCxnSpPr>
        <p:spPr bwMode="auto">
          <a:xfrm flipH="1">
            <a:off x="952494" y="2090245"/>
            <a:ext cx="1774960" cy="1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5E6EDCFF-8D2F-4D44-BC7E-1DD8F0222B56}"/>
              </a:ext>
            </a:extLst>
          </p:cNvPr>
          <p:cNvCxnSpPr>
            <a:cxnSpLocks/>
          </p:cNvCxnSpPr>
          <p:nvPr/>
        </p:nvCxnSpPr>
        <p:spPr bwMode="auto">
          <a:xfrm flipH="1">
            <a:off x="938206" y="2489867"/>
            <a:ext cx="3009907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id="{7E992554-DA5A-4C03-96C3-790DB97E164C}"/>
              </a:ext>
            </a:extLst>
          </p:cNvPr>
          <p:cNvCxnSpPr>
            <a:cxnSpLocks/>
          </p:cNvCxnSpPr>
          <p:nvPr/>
        </p:nvCxnSpPr>
        <p:spPr bwMode="auto">
          <a:xfrm flipH="1">
            <a:off x="933442" y="2919006"/>
            <a:ext cx="2200283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2CE0EAED-4624-4A74-9190-4BB533BAD1E1}"/>
              </a:ext>
            </a:extLst>
          </p:cNvPr>
          <p:cNvCxnSpPr>
            <a:cxnSpLocks/>
          </p:cNvCxnSpPr>
          <p:nvPr/>
        </p:nvCxnSpPr>
        <p:spPr bwMode="auto">
          <a:xfrm flipH="1">
            <a:off x="942969" y="3507431"/>
            <a:ext cx="1081094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  <p:sp>
        <p:nvSpPr>
          <p:cNvPr id="72" name="CuadroTexto 71">
            <a:extLst>
              <a:ext uri="{FF2B5EF4-FFF2-40B4-BE49-F238E27FC236}">
                <a16:creationId xmlns:a16="http://schemas.microsoft.com/office/drawing/2014/main" id="{86D3649F-0718-4BA1-8985-D340C94A34B7}"/>
              </a:ext>
            </a:extLst>
          </p:cNvPr>
          <p:cNvSpPr txBox="1"/>
          <p:nvPr/>
        </p:nvSpPr>
        <p:spPr>
          <a:xfrm>
            <a:off x="246669" y="4146414"/>
            <a:ext cx="6799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&lt;1/347M</a:t>
            </a:r>
          </a:p>
        </p:txBody>
      </p: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id="{CEDE9D4B-21A7-4439-B594-305013F387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38078" y="4271211"/>
            <a:ext cx="2595697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  <p:grpSp>
        <p:nvGrpSpPr>
          <p:cNvPr id="75" name="Grupo 74">
            <a:extLst>
              <a:ext uri="{FF2B5EF4-FFF2-40B4-BE49-F238E27FC236}">
                <a16:creationId xmlns:a16="http://schemas.microsoft.com/office/drawing/2014/main" id="{C37D9C64-8598-4500-96FE-BDD47F51B251}"/>
              </a:ext>
            </a:extLst>
          </p:cNvPr>
          <p:cNvGrpSpPr/>
          <p:nvPr/>
        </p:nvGrpSpPr>
        <p:grpSpPr>
          <a:xfrm>
            <a:off x="4211709" y="4310063"/>
            <a:ext cx="453970" cy="379459"/>
            <a:chOff x="1071152" y="4252913"/>
            <a:chExt cx="453970" cy="379459"/>
          </a:xfrm>
        </p:grpSpPr>
        <p:cxnSp>
          <p:nvCxnSpPr>
            <p:cNvPr id="76" name="Conector recto 75">
              <a:extLst>
                <a:ext uri="{FF2B5EF4-FFF2-40B4-BE49-F238E27FC236}">
                  <a16:creationId xmlns:a16="http://schemas.microsoft.com/office/drawing/2014/main" id="{89A6332D-40A1-411B-A52F-97B365D83413}"/>
                </a:ext>
              </a:extLst>
            </p:cNvPr>
            <p:cNvCxnSpPr>
              <a:cxnSpLocks/>
              <a:stCxn id="77" idx="0"/>
            </p:cNvCxnSpPr>
            <p:nvPr/>
          </p:nvCxnSpPr>
          <p:spPr bwMode="auto">
            <a:xfrm flipV="1">
              <a:off x="1298137" y="4252913"/>
              <a:ext cx="0" cy="133238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586DBD46-DE6C-4D2B-BD3F-0F3604D47253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6</a:t>
              </a:r>
            </a:p>
          </p:txBody>
        </p:sp>
      </p:grpSp>
      <p:grpSp>
        <p:nvGrpSpPr>
          <p:cNvPr id="82" name="Grupo 81">
            <a:extLst>
              <a:ext uri="{FF2B5EF4-FFF2-40B4-BE49-F238E27FC236}">
                <a16:creationId xmlns:a16="http://schemas.microsoft.com/office/drawing/2014/main" id="{0BA46BA4-410A-4CB1-87CC-B1A7DC66B448}"/>
              </a:ext>
            </a:extLst>
          </p:cNvPr>
          <p:cNvGrpSpPr/>
          <p:nvPr/>
        </p:nvGrpSpPr>
        <p:grpSpPr>
          <a:xfrm>
            <a:off x="3390077" y="4310063"/>
            <a:ext cx="453970" cy="379459"/>
            <a:chOff x="1071152" y="4252913"/>
            <a:chExt cx="453970" cy="379459"/>
          </a:xfrm>
        </p:grpSpPr>
        <p:cxnSp>
          <p:nvCxnSpPr>
            <p:cNvPr id="83" name="Conector recto 82">
              <a:extLst>
                <a:ext uri="{FF2B5EF4-FFF2-40B4-BE49-F238E27FC236}">
                  <a16:creationId xmlns:a16="http://schemas.microsoft.com/office/drawing/2014/main" id="{E91A990D-D246-4497-B3D3-E0CCC19D7D1E}"/>
                </a:ext>
              </a:extLst>
            </p:cNvPr>
            <p:cNvCxnSpPr>
              <a:cxnSpLocks/>
              <a:stCxn id="84" idx="0"/>
            </p:cNvCxnSpPr>
            <p:nvPr/>
          </p:nvCxnSpPr>
          <p:spPr bwMode="auto">
            <a:xfrm flipV="1">
              <a:off x="1298137" y="4252913"/>
              <a:ext cx="0" cy="133238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84" name="CuadroTexto 83">
              <a:extLst>
                <a:ext uri="{FF2B5EF4-FFF2-40B4-BE49-F238E27FC236}">
                  <a16:creationId xmlns:a16="http://schemas.microsoft.com/office/drawing/2014/main" id="{C86A59E9-307B-4C7F-8D7B-C74728145851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4</a:t>
              </a:r>
            </a:p>
          </p:txBody>
        </p:sp>
      </p:grpSp>
      <p:sp>
        <p:nvSpPr>
          <p:cNvPr id="85" name="CuadroTexto 84">
            <a:extLst>
              <a:ext uri="{FF2B5EF4-FFF2-40B4-BE49-F238E27FC236}">
                <a16:creationId xmlns:a16="http://schemas.microsoft.com/office/drawing/2014/main" id="{D6C9F209-C166-4827-92E8-9F40A85B7697}"/>
              </a:ext>
            </a:extLst>
          </p:cNvPr>
          <p:cNvSpPr txBox="1"/>
          <p:nvPr/>
        </p:nvSpPr>
        <p:spPr>
          <a:xfrm>
            <a:off x="3486638" y="4114525"/>
            <a:ext cx="777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f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BE60916A-586E-4A3B-BE8A-45A731EF9012}"/>
              </a:ext>
            </a:extLst>
          </p:cNvPr>
          <p:cNvSpPr txBox="1"/>
          <p:nvPr/>
        </p:nvSpPr>
        <p:spPr>
          <a:xfrm>
            <a:off x="5154296" y="1583332"/>
            <a:ext cx="18117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x (ac successor)</a:t>
            </a:r>
          </a:p>
        </p:txBody>
      </p:sp>
      <p:grpSp>
        <p:nvGrpSpPr>
          <p:cNvPr id="93" name="Grupo 92">
            <a:extLst>
              <a:ext uri="{FF2B5EF4-FFF2-40B4-BE49-F238E27FC236}">
                <a16:creationId xmlns:a16="http://schemas.microsoft.com/office/drawing/2014/main" id="{E72EBF04-4E65-4331-9D4E-C28889BA4297}"/>
              </a:ext>
            </a:extLst>
          </p:cNvPr>
          <p:cNvGrpSpPr/>
          <p:nvPr/>
        </p:nvGrpSpPr>
        <p:grpSpPr>
          <a:xfrm>
            <a:off x="5055864" y="1784350"/>
            <a:ext cx="453970" cy="2905172"/>
            <a:chOff x="1071152" y="1727200"/>
            <a:chExt cx="453970" cy="2905172"/>
          </a:xfrm>
        </p:grpSpPr>
        <p:cxnSp>
          <p:nvCxnSpPr>
            <p:cNvPr id="94" name="Conector recto 93">
              <a:extLst>
                <a:ext uri="{FF2B5EF4-FFF2-40B4-BE49-F238E27FC236}">
                  <a16:creationId xmlns:a16="http://schemas.microsoft.com/office/drawing/2014/main" id="{DA5A4E6C-BF13-4BD4-895F-16DAD1B054EE}"/>
                </a:ext>
              </a:extLst>
            </p:cNvPr>
            <p:cNvCxnSpPr>
              <a:cxnSpLocks/>
              <a:stCxn id="95" idx="0"/>
            </p:cNvCxnSpPr>
            <p:nvPr/>
          </p:nvCxnSpPr>
          <p:spPr bwMode="auto">
            <a:xfrm flipV="1">
              <a:off x="1298137" y="1727200"/>
              <a:ext cx="0" cy="2658951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95" name="CuadroTexto 94">
              <a:extLst>
                <a:ext uri="{FF2B5EF4-FFF2-40B4-BE49-F238E27FC236}">
                  <a16:creationId xmlns:a16="http://schemas.microsoft.com/office/drawing/2014/main" id="{5B4420E8-1D29-47D2-A54D-30BDE3D94138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8</a:t>
              </a:r>
            </a:p>
          </p:txBody>
        </p:sp>
      </p:grpSp>
      <p:sp>
        <p:nvSpPr>
          <p:cNvPr id="96" name="CuadroTexto 95">
            <a:extLst>
              <a:ext uri="{FF2B5EF4-FFF2-40B4-BE49-F238E27FC236}">
                <a16:creationId xmlns:a16="http://schemas.microsoft.com/office/drawing/2014/main" id="{5DC507F2-229D-4981-841D-0E2855578237}"/>
              </a:ext>
            </a:extLst>
          </p:cNvPr>
          <p:cNvSpPr txBox="1"/>
          <p:nvPr/>
        </p:nvSpPr>
        <p:spPr>
          <a:xfrm>
            <a:off x="181221" y="1622230"/>
            <a:ext cx="7681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5-2,4/10G</a:t>
            </a:r>
          </a:p>
        </p:txBody>
      </p:sp>
      <p:grpSp>
        <p:nvGrpSpPr>
          <p:cNvPr id="100" name="Grupo 99">
            <a:extLst>
              <a:ext uri="{FF2B5EF4-FFF2-40B4-BE49-F238E27FC236}">
                <a16:creationId xmlns:a16="http://schemas.microsoft.com/office/drawing/2014/main" id="{7AF9C068-5D45-4650-81AA-9D5BEBE1C238}"/>
              </a:ext>
            </a:extLst>
          </p:cNvPr>
          <p:cNvGrpSpPr/>
          <p:nvPr/>
        </p:nvGrpSpPr>
        <p:grpSpPr>
          <a:xfrm>
            <a:off x="5457122" y="1414463"/>
            <a:ext cx="453970" cy="3275059"/>
            <a:chOff x="1071152" y="1357313"/>
            <a:chExt cx="453970" cy="3275059"/>
          </a:xfrm>
        </p:grpSpPr>
        <p:cxnSp>
          <p:nvCxnSpPr>
            <p:cNvPr id="101" name="Conector recto 100">
              <a:extLst>
                <a:ext uri="{FF2B5EF4-FFF2-40B4-BE49-F238E27FC236}">
                  <a16:creationId xmlns:a16="http://schemas.microsoft.com/office/drawing/2014/main" id="{60517FEB-90D7-4B06-B70E-ED1BF5E90AEA}"/>
                </a:ext>
              </a:extLst>
            </p:cNvPr>
            <p:cNvCxnSpPr>
              <a:cxnSpLocks/>
              <a:stCxn id="102" idx="0"/>
            </p:cNvCxnSpPr>
            <p:nvPr/>
          </p:nvCxnSpPr>
          <p:spPr bwMode="auto">
            <a:xfrm flipV="1">
              <a:off x="1298137" y="1357313"/>
              <a:ext cx="0" cy="3028838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102" name="CuadroTexto 101">
              <a:extLst>
                <a:ext uri="{FF2B5EF4-FFF2-40B4-BE49-F238E27FC236}">
                  <a16:creationId xmlns:a16="http://schemas.microsoft.com/office/drawing/2014/main" id="{3750AC99-48A8-4783-9809-39CAA81316D2}"/>
                </a:ext>
              </a:extLst>
            </p:cNvPr>
            <p:cNvSpPr txBox="1"/>
            <p:nvPr/>
          </p:nvSpPr>
          <p:spPr>
            <a:xfrm>
              <a:off x="1071152" y="4386151"/>
              <a:ext cx="45397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Trebuchet MS"/>
                  <a:cs typeface="Trebuchet MS" panose="020B0502040204020203" pitchFamily="34" charset="0"/>
                </a:rPr>
                <a:t>2019</a:t>
              </a:r>
            </a:p>
          </p:txBody>
        </p:sp>
      </p:grpSp>
      <p:sp>
        <p:nvSpPr>
          <p:cNvPr id="103" name="CuadroTexto 102">
            <a:extLst>
              <a:ext uri="{FF2B5EF4-FFF2-40B4-BE49-F238E27FC236}">
                <a16:creationId xmlns:a16="http://schemas.microsoft.com/office/drawing/2014/main" id="{71B36D73-A52C-4092-95A3-9ECA98C0360D}"/>
              </a:ext>
            </a:extLst>
          </p:cNvPr>
          <p:cNvSpPr txBox="1"/>
          <p:nvPr/>
        </p:nvSpPr>
        <p:spPr>
          <a:xfrm>
            <a:off x="5557203" y="1216152"/>
            <a:ext cx="18181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Trebuchet MS"/>
                <a:cs typeface="Trebuchet MS" panose="020B0502040204020203" pitchFamily="34" charset="0"/>
              </a:rPr>
              <a:t>802.11ay (ad successor)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id="{A5100E95-C498-4118-93ED-D7A51A6CB583}"/>
              </a:ext>
            </a:extLst>
          </p:cNvPr>
          <p:cNvSpPr txBox="1"/>
          <p:nvPr/>
        </p:nvSpPr>
        <p:spPr>
          <a:xfrm>
            <a:off x="266946" y="1230771"/>
            <a:ext cx="67518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Trebuchet MS"/>
                <a:cs typeface="Trebuchet MS" panose="020B0502040204020203" pitchFamily="34" charset="0"/>
              </a:rPr>
              <a:t>60/100G</a:t>
            </a:r>
          </a:p>
        </p:txBody>
      </p:sp>
      <p:cxnSp>
        <p:nvCxnSpPr>
          <p:cNvPr id="115" name="Conector recto 114">
            <a:extLst>
              <a:ext uri="{FF2B5EF4-FFF2-40B4-BE49-F238E27FC236}">
                <a16:creationId xmlns:a16="http://schemas.microsoft.com/office/drawing/2014/main" id="{83763A02-5721-4D78-A7C3-9060D27F3E99}"/>
              </a:ext>
            </a:extLst>
          </p:cNvPr>
          <p:cNvCxnSpPr>
            <a:cxnSpLocks/>
          </p:cNvCxnSpPr>
          <p:nvPr/>
        </p:nvCxnSpPr>
        <p:spPr bwMode="auto">
          <a:xfrm flipH="1">
            <a:off x="952495" y="1730142"/>
            <a:ext cx="4261331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  <p:cxnSp>
        <p:nvCxnSpPr>
          <p:cNvPr id="124" name="Conector recto 123">
            <a:extLst>
              <a:ext uri="{FF2B5EF4-FFF2-40B4-BE49-F238E27FC236}">
                <a16:creationId xmlns:a16="http://schemas.microsoft.com/office/drawing/2014/main" id="{420EEF63-58A3-402C-BE07-E71FED48F244}"/>
              </a:ext>
            </a:extLst>
          </p:cNvPr>
          <p:cNvCxnSpPr>
            <a:cxnSpLocks/>
          </p:cNvCxnSpPr>
          <p:nvPr/>
        </p:nvCxnSpPr>
        <p:spPr bwMode="auto">
          <a:xfrm flipH="1">
            <a:off x="935079" y="1344862"/>
            <a:ext cx="4691021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954165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5035EC31-4494-475D-9A95-8A2DAE620141}"/>
              </a:ext>
            </a:extLst>
          </p:cNvPr>
          <p:cNvSpPr/>
          <p:nvPr/>
        </p:nvSpPr>
        <p:spPr>
          <a:xfrm>
            <a:off x="866775" y="3081471"/>
            <a:ext cx="7400925" cy="103822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2400" b="1" dirty="0">
                <a:solidFill>
                  <a:schemeClr val="bg1"/>
                </a:solidFill>
                <a:latin typeface="Trebuchet MS"/>
                <a:cs typeface="Trebuchet MS"/>
              </a:rPr>
              <a:t>Central Traffic Points (Controllers) </a:t>
            </a:r>
          </a:p>
          <a:p>
            <a:pPr algn="ctr">
              <a:spcBef>
                <a:spcPts val="0"/>
              </a:spcBef>
            </a:pPr>
            <a:r>
              <a:rPr lang="en-US" sz="2400" b="1" dirty="0">
                <a:solidFill>
                  <a:schemeClr val="bg1"/>
                </a:solidFill>
                <a:latin typeface="Trebuchet MS"/>
                <a:cs typeface="Trebuchet MS"/>
              </a:rPr>
              <a:t>WILL </a:t>
            </a:r>
            <a:r>
              <a:rPr lang="en-US" sz="2400" b="1" dirty="0">
                <a:solidFill>
                  <a:srgbClr val="FF0000"/>
                </a:solidFill>
                <a:latin typeface="Trebuchet MS"/>
                <a:cs typeface="Trebuchet MS"/>
              </a:rPr>
              <a:t>       </a:t>
            </a:r>
            <a:r>
              <a:rPr lang="en-US" sz="2400" b="1" dirty="0">
                <a:solidFill>
                  <a:schemeClr val="bg1"/>
                </a:solidFill>
                <a:latin typeface="Trebuchet MS"/>
                <a:cs typeface="Trebuchet MS"/>
              </a:rPr>
              <a:t> BE ABLE TO SCALE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DA4C31D-7E31-4B40-A558-0AC6A7AF8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ing the paradigm to avoid the meltdown </a:t>
            </a: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7F5F8242-E9EF-4FBD-936B-532B0FDB632B}"/>
              </a:ext>
            </a:extLst>
          </p:cNvPr>
          <p:cNvSpPr/>
          <p:nvPr/>
        </p:nvSpPr>
        <p:spPr>
          <a:xfrm>
            <a:off x="223154" y="1590676"/>
            <a:ext cx="2824844" cy="108585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dirty="0">
                <a:latin typeface="Trebuchet MS"/>
                <a:cs typeface="Trebuchet MS"/>
              </a:rPr>
              <a:t>100s of APs at 2,5/5/10Gbps, impose 100/400Gbps interfaces at Central Traffic Points</a:t>
            </a: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3BB63B8F-30AE-4091-A3A1-C4D3F4EA72D2}"/>
              </a:ext>
            </a:extLst>
          </p:cNvPr>
          <p:cNvSpPr/>
          <p:nvPr/>
        </p:nvSpPr>
        <p:spPr>
          <a:xfrm>
            <a:off x="3184338" y="1590676"/>
            <a:ext cx="2824844" cy="108585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dirty="0">
                <a:latin typeface="Trebuchet MS"/>
                <a:cs typeface="Trebuchet MS"/>
              </a:rPr>
              <a:t>100s of clients per AP (</a:t>
            </a:r>
            <a:r>
              <a:rPr lang="en-US" sz="1600" dirty="0" err="1">
                <a:latin typeface="Trebuchet MS"/>
                <a:cs typeface="Trebuchet MS"/>
              </a:rPr>
              <a:t>IoT</a:t>
            </a:r>
            <a:r>
              <a:rPr lang="en-US" sz="1600" dirty="0">
                <a:latin typeface="Trebuchet MS"/>
                <a:cs typeface="Trebuchet MS"/>
              </a:rPr>
              <a:t>), impose massive CPU power for Traffic Control at</a:t>
            </a:r>
          </a:p>
          <a:p>
            <a:pPr algn="ctr">
              <a:spcBef>
                <a:spcPts val="0"/>
              </a:spcBef>
            </a:pPr>
            <a:r>
              <a:rPr lang="en-US" sz="1600" dirty="0">
                <a:latin typeface="Trebuchet MS"/>
                <a:cs typeface="Trebuchet MS"/>
              </a:rPr>
              <a:t>Central Traffic Points</a:t>
            </a: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B4A1AABC-74B8-478D-A6F3-0710FFBF0622}"/>
              </a:ext>
            </a:extLst>
          </p:cNvPr>
          <p:cNvSpPr/>
          <p:nvPr/>
        </p:nvSpPr>
        <p:spPr>
          <a:xfrm>
            <a:off x="6145523" y="1590676"/>
            <a:ext cx="2824844" cy="108585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dirty="0">
                <a:latin typeface="Trebuchet MS"/>
                <a:cs typeface="Trebuchet MS"/>
              </a:rPr>
              <a:t>100s of users per AP, impose costly </a:t>
            </a:r>
            <a:r>
              <a:rPr lang="en-US" sz="1600" dirty="0" err="1">
                <a:latin typeface="Trebuchet MS"/>
                <a:cs typeface="Trebuchet MS"/>
              </a:rPr>
              <a:t>CryptoModules</a:t>
            </a:r>
            <a:r>
              <a:rPr lang="en-US" sz="1600" dirty="0">
                <a:latin typeface="Trebuchet MS"/>
                <a:cs typeface="Trebuchet MS"/>
              </a:rPr>
              <a:t> at </a:t>
            </a:r>
          </a:p>
          <a:p>
            <a:pPr algn="ctr">
              <a:spcBef>
                <a:spcPts val="0"/>
              </a:spcBef>
            </a:pPr>
            <a:r>
              <a:rPr lang="en-US" sz="1600" dirty="0">
                <a:latin typeface="Trebuchet MS"/>
                <a:cs typeface="Trebuchet MS"/>
              </a:rPr>
              <a:t>Central Traffic Point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17041D6-42F1-4B9E-9DA9-4AA6DABCB6C6}"/>
              </a:ext>
            </a:extLst>
          </p:cNvPr>
          <p:cNvSpPr txBox="1"/>
          <p:nvPr/>
        </p:nvSpPr>
        <p:spPr>
          <a:xfrm>
            <a:off x="3230879" y="3548329"/>
            <a:ext cx="793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Trebuchet MS"/>
                <a:cs typeface="Trebuchet MS" panose="020B0502040204020203" pitchFamily="34" charset="0"/>
              </a:rPr>
              <a:t>NOT</a:t>
            </a:r>
            <a:endParaRPr lang="en-US" sz="2400" dirty="0">
              <a:solidFill>
                <a:schemeClr val="bg1"/>
              </a:solidFill>
              <a:latin typeface="Trebuchet MS"/>
              <a:cs typeface="Trebuchet MS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384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35" presetClass="emph" presetSubtype="0" repeatCount="indefinite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 calcmode="discrete" valueType="str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2C514B-BBCA-4793-9BF2-AF206ACE9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mniAccess WLAN Stellar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0195CC4C-6C09-4237-8348-D0772C516447}"/>
              </a:ext>
            </a:extLst>
          </p:cNvPr>
          <p:cNvGrpSpPr/>
          <p:nvPr/>
        </p:nvGrpSpPr>
        <p:grpSpPr>
          <a:xfrm>
            <a:off x="3312180" y="963038"/>
            <a:ext cx="1885044" cy="1056531"/>
            <a:chOff x="5283591" y="2565336"/>
            <a:chExt cx="1885044" cy="1056531"/>
          </a:xfrm>
        </p:grpSpPr>
        <p:pic>
          <p:nvPicPr>
            <p:cNvPr id="4" name="Image 46">
              <a:extLst>
                <a:ext uri="{FF2B5EF4-FFF2-40B4-BE49-F238E27FC236}">
                  <a16:creationId xmlns:a16="http://schemas.microsoft.com/office/drawing/2014/main" id="{7F315FF2-B2A3-4A63-88E3-632027EA3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5283591" y="2565336"/>
              <a:ext cx="1885044" cy="1056531"/>
            </a:xfrm>
            <a:custGeom>
              <a:avLst/>
              <a:gdLst>
                <a:gd name="connsiteX0" fmla="*/ 982580 w 6010509"/>
                <a:gd name="connsiteY0" fmla="*/ 225533 h 3403353"/>
                <a:gd name="connsiteX1" fmla="*/ 982580 w 6010509"/>
                <a:gd name="connsiteY1" fmla="*/ 2839341 h 3403353"/>
                <a:gd name="connsiteX2" fmla="*/ 5066488 w 6010509"/>
                <a:gd name="connsiteY2" fmla="*/ 2839341 h 3403353"/>
                <a:gd name="connsiteX3" fmla="*/ 5066488 w 6010509"/>
                <a:gd name="connsiteY3" fmla="*/ 225533 h 3403353"/>
                <a:gd name="connsiteX4" fmla="*/ 0 w 6010509"/>
                <a:gd name="connsiteY4" fmla="*/ 0 h 3403353"/>
                <a:gd name="connsiteX5" fmla="*/ 6010509 w 6010509"/>
                <a:gd name="connsiteY5" fmla="*/ 0 h 3403353"/>
                <a:gd name="connsiteX6" fmla="*/ 6010509 w 6010509"/>
                <a:gd name="connsiteY6" fmla="*/ 3403353 h 3403353"/>
                <a:gd name="connsiteX7" fmla="*/ 0 w 6010509"/>
                <a:gd name="connsiteY7" fmla="*/ 3403353 h 340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10509" h="3403353">
                  <a:moveTo>
                    <a:pt x="982580" y="225533"/>
                  </a:moveTo>
                  <a:lnTo>
                    <a:pt x="982580" y="2839341"/>
                  </a:lnTo>
                  <a:lnTo>
                    <a:pt x="5066488" y="2839341"/>
                  </a:lnTo>
                  <a:lnTo>
                    <a:pt x="5066488" y="225533"/>
                  </a:lnTo>
                  <a:close/>
                  <a:moveTo>
                    <a:pt x="0" y="0"/>
                  </a:moveTo>
                  <a:lnTo>
                    <a:pt x="6010509" y="0"/>
                  </a:lnTo>
                  <a:lnTo>
                    <a:pt x="6010509" y="3403353"/>
                  </a:lnTo>
                  <a:lnTo>
                    <a:pt x="0" y="3403353"/>
                  </a:lnTo>
                  <a:close/>
                </a:path>
              </a:pathLst>
            </a:custGeom>
          </p:spPr>
        </p:pic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862E295C-B92B-4A7D-901C-A6E7AB65AE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20395"/>
            <a:stretch/>
          </p:blipFill>
          <p:spPr>
            <a:xfrm>
              <a:off x="5581650" y="2620637"/>
              <a:ext cx="1294067" cy="824108"/>
            </a:xfrm>
            <a:prstGeom prst="rect">
              <a:avLst/>
            </a:prstGeom>
          </p:spPr>
        </p:pic>
      </p:grp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39C88818-E6D5-41B6-B7D0-F338BF686BA1}"/>
              </a:ext>
            </a:extLst>
          </p:cNvPr>
          <p:cNvCxnSpPr/>
          <p:nvPr/>
        </p:nvCxnSpPr>
        <p:spPr bwMode="auto">
          <a:xfrm>
            <a:off x="310393" y="2206304"/>
            <a:ext cx="859871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FE28A7B2-6BC8-42B5-9F4E-AE8E194BD15D}"/>
              </a:ext>
            </a:extLst>
          </p:cNvPr>
          <p:cNvCxnSpPr/>
          <p:nvPr/>
        </p:nvCxnSpPr>
        <p:spPr bwMode="auto">
          <a:xfrm>
            <a:off x="310393" y="3607266"/>
            <a:ext cx="859871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9" name="Image 23">
            <a:extLst>
              <a:ext uri="{FF2B5EF4-FFF2-40B4-BE49-F238E27FC236}">
                <a16:creationId xmlns:a16="http://schemas.microsoft.com/office/drawing/2014/main" id="{1556F257-0072-469D-854A-636592DB751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544500" y="3071633"/>
            <a:ext cx="476951" cy="350810"/>
          </a:xfrm>
          <a:prstGeom prst="rect">
            <a:avLst/>
          </a:prstGeom>
        </p:spPr>
      </p:pic>
      <p:pic>
        <p:nvPicPr>
          <p:cNvPr id="10" name="Image 25">
            <a:extLst>
              <a:ext uri="{FF2B5EF4-FFF2-40B4-BE49-F238E27FC236}">
                <a16:creationId xmlns:a16="http://schemas.microsoft.com/office/drawing/2014/main" id="{69F0D2EA-6F8D-4668-B07E-40D838DFE6C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5894627" y="3219033"/>
            <a:ext cx="543794" cy="269761"/>
          </a:xfrm>
          <a:prstGeom prst="rect">
            <a:avLst/>
          </a:prstGeom>
        </p:spPr>
      </p:pic>
      <p:pic>
        <p:nvPicPr>
          <p:cNvPr id="11" name="Image 27">
            <a:extLst>
              <a:ext uri="{FF2B5EF4-FFF2-40B4-BE49-F238E27FC236}">
                <a16:creationId xmlns:a16="http://schemas.microsoft.com/office/drawing/2014/main" id="{BF06D01D-FF25-4E20-B016-10E6A50551B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4088051" y="2632578"/>
            <a:ext cx="546929" cy="306762"/>
          </a:xfrm>
          <a:prstGeom prst="rect">
            <a:avLst/>
          </a:prstGeom>
        </p:spPr>
      </p:pic>
      <p:pic>
        <p:nvPicPr>
          <p:cNvPr id="12" name="Image 29">
            <a:extLst>
              <a:ext uri="{FF2B5EF4-FFF2-40B4-BE49-F238E27FC236}">
                <a16:creationId xmlns:a16="http://schemas.microsoft.com/office/drawing/2014/main" id="{4CA9D7A8-321C-444E-915E-557CCB7BFC8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3624742" y="3132193"/>
            <a:ext cx="421847" cy="310466"/>
          </a:xfrm>
          <a:prstGeom prst="rect">
            <a:avLst/>
          </a:prstGeom>
        </p:spPr>
      </p:pic>
      <p:pic>
        <p:nvPicPr>
          <p:cNvPr id="14" name="Image 29">
            <a:extLst>
              <a:ext uri="{FF2B5EF4-FFF2-40B4-BE49-F238E27FC236}">
                <a16:creationId xmlns:a16="http://schemas.microsoft.com/office/drawing/2014/main" id="{FE3BBB48-1E8D-4613-B9CF-052214024CA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3061441" y="2548769"/>
            <a:ext cx="421847" cy="310466"/>
          </a:xfrm>
          <a:prstGeom prst="rect">
            <a:avLst/>
          </a:prstGeom>
        </p:spPr>
      </p:pic>
      <p:pic>
        <p:nvPicPr>
          <p:cNvPr id="15" name="Image 23">
            <a:extLst>
              <a:ext uri="{FF2B5EF4-FFF2-40B4-BE49-F238E27FC236}">
                <a16:creationId xmlns:a16="http://schemas.microsoft.com/office/drawing/2014/main" id="{15A0AC18-B3B0-4D65-A547-DE9B557C739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884408" y="2400280"/>
            <a:ext cx="476951" cy="350810"/>
          </a:xfrm>
          <a:prstGeom prst="rect">
            <a:avLst/>
          </a:prstGeom>
        </p:spPr>
      </p:pic>
      <p:pic>
        <p:nvPicPr>
          <p:cNvPr id="16" name="Image 23">
            <a:extLst>
              <a:ext uri="{FF2B5EF4-FFF2-40B4-BE49-F238E27FC236}">
                <a16:creationId xmlns:a16="http://schemas.microsoft.com/office/drawing/2014/main" id="{EA7209CB-0A1E-4824-8315-DA71D8F7711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4917010" y="3103986"/>
            <a:ext cx="476951" cy="350810"/>
          </a:xfrm>
          <a:prstGeom prst="rect">
            <a:avLst/>
          </a:prstGeom>
        </p:spPr>
      </p:pic>
      <p:pic>
        <p:nvPicPr>
          <p:cNvPr id="17" name="Image 29">
            <a:extLst>
              <a:ext uri="{FF2B5EF4-FFF2-40B4-BE49-F238E27FC236}">
                <a16:creationId xmlns:a16="http://schemas.microsoft.com/office/drawing/2014/main" id="{79AC529F-9EFA-4B6E-8271-D0A6ECB74A1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5296664" y="2420452"/>
            <a:ext cx="421847" cy="310466"/>
          </a:xfrm>
          <a:prstGeom prst="rect">
            <a:avLst/>
          </a:prstGeom>
        </p:spPr>
      </p:pic>
      <p:pic>
        <p:nvPicPr>
          <p:cNvPr id="18" name="Image 27">
            <a:extLst>
              <a:ext uri="{FF2B5EF4-FFF2-40B4-BE49-F238E27FC236}">
                <a16:creationId xmlns:a16="http://schemas.microsoft.com/office/drawing/2014/main" id="{3BF42F9E-0C9E-4B9F-B8DD-1EEEB71D785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458570" y="3105843"/>
            <a:ext cx="546929" cy="306762"/>
          </a:xfrm>
          <a:prstGeom prst="rect">
            <a:avLst/>
          </a:prstGeom>
        </p:spPr>
      </p:pic>
      <p:pic>
        <p:nvPicPr>
          <p:cNvPr id="19" name="Image 25">
            <a:extLst>
              <a:ext uri="{FF2B5EF4-FFF2-40B4-BE49-F238E27FC236}">
                <a16:creationId xmlns:a16="http://schemas.microsoft.com/office/drawing/2014/main" id="{B9C31F49-3D0F-40E8-B0D0-E97F2860B9F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704270" y="2441205"/>
            <a:ext cx="543794" cy="269761"/>
          </a:xfrm>
          <a:prstGeom prst="rect">
            <a:avLst/>
          </a:prstGeom>
        </p:spPr>
      </p:pic>
      <p:pic>
        <p:nvPicPr>
          <p:cNvPr id="20" name="Image 25">
            <a:extLst>
              <a:ext uri="{FF2B5EF4-FFF2-40B4-BE49-F238E27FC236}">
                <a16:creationId xmlns:a16="http://schemas.microsoft.com/office/drawing/2014/main" id="{D46F26A2-F358-46B8-81B3-9B6B117B121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2525178" y="3132193"/>
            <a:ext cx="543794" cy="269761"/>
          </a:xfrm>
          <a:prstGeom prst="rect">
            <a:avLst/>
          </a:prstGeom>
        </p:spPr>
      </p:pic>
      <p:pic>
        <p:nvPicPr>
          <p:cNvPr id="22" name="Image 27">
            <a:extLst>
              <a:ext uri="{FF2B5EF4-FFF2-40B4-BE49-F238E27FC236}">
                <a16:creationId xmlns:a16="http://schemas.microsoft.com/office/drawing/2014/main" id="{5179CD98-3FF0-45B4-BF0F-FE831B29C76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311439" y="2488618"/>
            <a:ext cx="546929" cy="306762"/>
          </a:xfrm>
          <a:prstGeom prst="rect">
            <a:avLst/>
          </a:prstGeom>
        </p:spPr>
      </p:pic>
      <p:cxnSp>
        <p:nvCxnSpPr>
          <p:cNvPr id="24" name="Conector recto de flecha 23">
            <a:extLst>
              <a:ext uri="{FF2B5EF4-FFF2-40B4-BE49-F238E27FC236}">
                <a16:creationId xmlns:a16="http://schemas.microsoft.com/office/drawing/2014/main" id="{15128D4A-1AF3-44BF-BF70-BF0691B8950C}"/>
              </a:ext>
            </a:extLst>
          </p:cNvPr>
          <p:cNvCxnSpPr>
            <a:stCxn id="11" idx="3"/>
            <a:endCxn id="17" idx="1"/>
          </p:cNvCxnSpPr>
          <p:nvPr/>
        </p:nvCxnSpPr>
        <p:spPr bwMode="auto">
          <a:xfrm flipV="1">
            <a:off x="4634980" y="2575685"/>
            <a:ext cx="661684" cy="210274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26" name="Conector recto de flecha 25">
            <a:extLst>
              <a:ext uri="{FF2B5EF4-FFF2-40B4-BE49-F238E27FC236}">
                <a16:creationId xmlns:a16="http://schemas.microsoft.com/office/drawing/2014/main" id="{DA47F025-0575-4A6E-B770-DDE02954E772}"/>
              </a:ext>
            </a:extLst>
          </p:cNvPr>
          <p:cNvCxnSpPr>
            <a:stCxn id="11" idx="2"/>
            <a:endCxn id="16" idx="1"/>
          </p:cNvCxnSpPr>
          <p:nvPr/>
        </p:nvCxnSpPr>
        <p:spPr bwMode="auto">
          <a:xfrm>
            <a:off x="4361516" y="2939340"/>
            <a:ext cx="555494" cy="340051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9ED8C702-C0CB-4FBA-8010-330CE9CDF4A9}"/>
              </a:ext>
            </a:extLst>
          </p:cNvPr>
          <p:cNvCxnSpPr>
            <a:stCxn id="11" idx="1"/>
            <a:endCxn id="12" idx="0"/>
          </p:cNvCxnSpPr>
          <p:nvPr/>
        </p:nvCxnSpPr>
        <p:spPr bwMode="auto">
          <a:xfrm flipH="1">
            <a:off x="3835666" y="2785959"/>
            <a:ext cx="252385" cy="346234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38065932-00F4-407B-B22A-26AF589A7520}"/>
              </a:ext>
            </a:extLst>
          </p:cNvPr>
          <p:cNvCxnSpPr>
            <a:stCxn id="11" idx="1"/>
            <a:endCxn id="14" idx="3"/>
          </p:cNvCxnSpPr>
          <p:nvPr/>
        </p:nvCxnSpPr>
        <p:spPr bwMode="auto">
          <a:xfrm flipH="1" flipV="1">
            <a:off x="3483288" y="2704002"/>
            <a:ext cx="604763" cy="81957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45907AC6-DDBA-40E3-9235-DD388E5FE132}"/>
              </a:ext>
            </a:extLst>
          </p:cNvPr>
          <p:cNvCxnSpPr>
            <a:stCxn id="17" idx="3"/>
            <a:endCxn id="22" idx="1"/>
          </p:cNvCxnSpPr>
          <p:nvPr/>
        </p:nvCxnSpPr>
        <p:spPr bwMode="auto">
          <a:xfrm>
            <a:off x="5718511" y="2575685"/>
            <a:ext cx="592928" cy="66314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8132086F-D279-4112-94C3-4DB8FF0C75C2}"/>
              </a:ext>
            </a:extLst>
          </p:cNvPr>
          <p:cNvCxnSpPr>
            <a:stCxn id="16" idx="0"/>
            <a:endCxn id="17" idx="2"/>
          </p:cNvCxnSpPr>
          <p:nvPr/>
        </p:nvCxnSpPr>
        <p:spPr bwMode="auto">
          <a:xfrm flipV="1">
            <a:off x="5155486" y="2730918"/>
            <a:ext cx="352102" cy="373068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6" name="Conector recto de flecha 35">
            <a:extLst>
              <a:ext uri="{FF2B5EF4-FFF2-40B4-BE49-F238E27FC236}">
                <a16:creationId xmlns:a16="http://schemas.microsoft.com/office/drawing/2014/main" id="{E5D99B7C-90CE-4438-A063-F2DF37D624B5}"/>
              </a:ext>
            </a:extLst>
          </p:cNvPr>
          <p:cNvCxnSpPr>
            <a:stCxn id="17" idx="2"/>
            <a:endCxn id="10" idx="0"/>
          </p:cNvCxnSpPr>
          <p:nvPr/>
        </p:nvCxnSpPr>
        <p:spPr bwMode="auto">
          <a:xfrm>
            <a:off x="5507588" y="2730918"/>
            <a:ext cx="658936" cy="488115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8" name="Conector recto de flecha 37">
            <a:extLst>
              <a:ext uri="{FF2B5EF4-FFF2-40B4-BE49-F238E27FC236}">
                <a16:creationId xmlns:a16="http://schemas.microsoft.com/office/drawing/2014/main" id="{2C0ED083-48C9-44CA-B29C-2FD27B757C68}"/>
              </a:ext>
            </a:extLst>
          </p:cNvPr>
          <p:cNvCxnSpPr>
            <a:stCxn id="22" idx="2"/>
            <a:endCxn id="10" idx="0"/>
          </p:cNvCxnSpPr>
          <p:nvPr/>
        </p:nvCxnSpPr>
        <p:spPr bwMode="auto">
          <a:xfrm flipH="1">
            <a:off x="6166524" y="2795380"/>
            <a:ext cx="418380" cy="423653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40" name="Conector recto de flecha 39">
            <a:extLst>
              <a:ext uri="{FF2B5EF4-FFF2-40B4-BE49-F238E27FC236}">
                <a16:creationId xmlns:a16="http://schemas.microsoft.com/office/drawing/2014/main" id="{D6BE7677-3228-47A7-B77B-9AE3CDD95BB0}"/>
              </a:ext>
            </a:extLst>
          </p:cNvPr>
          <p:cNvCxnSpPr>
            <a:stCxn id="12" idx="3"/>
            <a:endCxn id="16" idx="1"/>
          </p:cNvCxnSpPr>
          <p:nvPr/>
        </p:nvCxnSpPr>
        <p:spPr bwMode="auto">
          <a:xfrm flipV="1">
            <a:off x="4046589" y="3279391"/>
            <a:ext cx="870421" cy="8035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42" name="Conector recto de flecha 41">
            <a:extLst>
              <a:ext uri="{FF2B5EF4-FFF2-40B4-BE49-F238E27FC236}">
                <a16:creationId xmlns:a16="http://schemas.microsoft.com/office/drawing/2014/main" id="{518817B7-0F2D-4C56-A481-7AB065A274B9}"/>
              </a:ext>
            </a:extLst>
          </p:cNvPr>
          <p:cNvCxnSpPr>
            <a:stCxn id="14" idx="2"/>
            <a:endCxn id="12" idx="1"/>
          </p:cNvCxnSpPr>
          <p:nvPr/>
        </p:nvCxnSpPr>
        <p:spPr bwMode="auto">
          <a:xfrm>
            <a:off x="3272365" y="2859235"/>
            <a:ext cx="352377" cy="428191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44" name="Conector recto de flecha 43">
            <a:extLst>
              <a:ext uri="{FF2B5EF4-FFF2-40B4-BE49-F238E27FC236}">
                <a16:creationId xmlns:a16="http://schemas.microsoft.com/office/drawing/2014/main" id="{864ACC00-7F66-44DB-8274-86F671721394}"/>
              </a:ext>
            </a:extLst>
          </p:cNvPr>
          <p:cNvCxnSpPr>
            <a:stCxn id="14" idx="1"/>
            <a:endCxn id="15" idx="3"/>
          </p:cNvCxnSpPr>
          <p:nvPr/>
        </p:nvCxnSpPr>
        <p:spPr bwMode="auto">
          <a:xfrm flipH="1" flipV="1">
            <a:off x="2361359" y="2575685"/>
            <a:ext cx="700082" cy="128317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46" name="Conector recto de flecha 45">
            <a:extLst>
              <a:ext uri="{FF2B5EF4-FFF2-40B4-BE49-F238E27FC236}">
                <a16:creationId xmlns:a16="http://schemas.microsoft.com/office/drawing/2014/main" id="{41FC19AD-2AAB-4DA7-A673-4E76EA01E691}"/>
              </a:ext>
            </a:extLst>
          </p:cNvPr>
          <p:cNvCxnSpPr>
            <a:stCxn id="14" idx="2"/>
            <a:endCxn id="20" idx="0"/>
          </p:cNvCxnSpPr>
          <p:nvPr/>
        </p:nvCxnSpPr>
        <p:spPr bwMode="auto">
          <a:xfrm flipH="1">
            <a:off x="2797075" y="2859235"/>
            <a:ext cx="475290" cy="272958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8" name="Conector recto de flecha 47">
            <a:extLst>
              <a:ext uri="{FF2B5EF4-FFF2-40B4-BE49-F238E27FC236}">
                <a16:creationId xmlns:a16="http://schemas.microsoft.com/office/drawing/2014/main" id="{5CDFE899-E6F5-448E-BE77-A1B3A5151FE3}"/>
              </a:ext>
            </a:extLst>
          </p:cNvPr>
          <p:cNvCxnSpPr>
            <a:stCxn id="15" idx="2"/>
            <a:endCxn id="20" idx="1"/>
          </p:cNvCxnSpPr>
          <p:nvPr/>
        </p:nvCxnSpPr>
        <p:spPr bwMode="auto">
          <a:xfrm>
            <a:off x="2122884" y="2751090"/>
            <a:ext cx="402294" cy="515984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50" name="Conector recto de flecha 49">
            <a:extLst>
              <a:ext uri="{FF2B5EF4-FFF2-40B4-BE49-F238E27FC236}">
                <a16:creationId xmlns:a16="http://schemas.microsoft.com/office/drawing/2014/main" id="{C7505DD3-54F0-4E38-9D40-85AB820A0030}"/>
              </a:ext>
            </a:extLst>
          </p:cNvPr>
          <p:cNvCxnSpPr>
            <a:stCxn id="15" idx="2"/>
            <a:endCxn id="18" idx="0"/>
          </p:cNvCxnSpPr>
          <p:nvPr/>
        </p:nvCxnSpPr>
        <p:spPr bwMode="auto">
          <a:xfrm flipH="1">
            <a:off x="1732035" y="2751090"/>
            <a:ext cx="390849" cy="354753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52" name="Conector recto de flecha 51">
            <a:extLst>
              <a:ext uri="{FF2B5EF4-FFF2-40B4-BE49-F238E27FC236}">
                <a16:creationId xmlns:a16="http://schemas.microsoft.com/office/drawing/2014/main" id="{DF0FB5F6-FE0E-4F48-BD84-49180C0A2682}"/>
              </a:ext>
            </a:extLst>
          </p:cNvPr>
          <p:cNvCxnSpPr>
            <a:stCxn id="15" idx="1"/>
            <a:endCxn id="19" idx="3"/>
          </p:cNvCxnSpPr>
          <p:nvPr/>
        </p:nvCxnSpPr>
        <p:spPr bwMode="auto">
          <a:xfrm flipH="1">
            <a:off x="1248064" y="2575685"/>
            <a:ext cx="636344" cy="401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54" name="Conector recto de flecha 53">
            <a:extLst>
              <a:ext uri="{FF2B5EF4-FFF2-40B4-BE49-F238E27FC236}">
                <a16:creationId xmlns:a16="http://schemas.microsoft.com/office/drawing/2014/main" id="{34F8DB1F-C77D-4E75-939B-42D48071CB88}"/>
              </a:ext>
            </a:extLst>
          </p:cNvPr>
          <p:cNvCxnSpPr>
            <a:stCxn id="19" idx="2"/>
            <a:endCxn id="9" idx="0"/>
          </p:cNvCxnSpPr>
          <p:nvPr/>
        </p:nvCxnSpPr>
        <p:spPr bwMode="auto">
          <a:xfrm flipH="1">
            <a:off x="782976" y="2710966"/>
            <a:ext cx="193191" cy="360667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56" name="Conector recto de flecha 55">
            <a:extLst>
              <a:ext uri="{FF2B5EF4-FFF2-40B4-BE49-F238E27FC236}">
                <a16:creationId xmlns:a16="http://schemas.microsoft.com/office/drawing/2014/main" id="{27D8D77F-6F06-4523-874D-62A94C344ADE}"/>
              </a:ext>
            </a:extLst>
          </p:cNvPr>
          <p:cNvCxnSpPr>
            <a:stCxn id="9" idx="3"/>
            <a:endCxn id="18" idx="1"/>
          </p:cNvCxnSpPr>
          <p:nvPr/>
        </p:nvCxnSpPr>
        <p:spPr bwMode="auto">
          <a:xfrm>
            <a:off x="1021451" y="3247038"/>
            <a:ext cx="437119" cy="12186"/>
          </a:xfrm>
          <a:prstGeom prst="straightConnector1">
            <a:avLst/>
          </a:prstGeom>
          <a:noFill/>
          <a:ln w="12700" cap="flat" cmpd="sng" algn="ctr">
            <a:solidFill>
              <a:schemeClr val="accent5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58" name="Conector recto de flecha 57">
            <a:extLst>
              <a:ext uri="{FF2B5EF4-FFF2-40B4-BE49-F238E27FC236}">
                <a16:creationId xmlns:a16="http://schemas.microsoft.com/office/drawing/2014/main" id="{25F3BA56-52D1-40D2-99FE-E1948C59A890}"/>
              </a:ext>
            </a:extLst>
          </p:cNvPr>
          <p:cNvCxnSpPr>
            <a:cxnSpLocks/>
            <a:stCxn id="19" idx="0"/>
            <a:endCxn id="4" idx="7"/>
          </p:cNvCxnSpPr>
          <p:nvPr/>
        </p:nvCxnSpPr>
        <p:spPr bwMode="auto">
          <a:xfrm flipV="1">
            <a:off x="976167" y="2019569"/>
            <a:ext cx="2336013" cy="421636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64" name="Conector recto de flecha 63">
            <a:extLst>
              <a:ext uri="{FF2B5EF4-FFF2-40B4-BE49-F238E27FC236}">
                <a16:creationId xmlns:a16="http://schemas.microsoft.com/office/drawing/2014/main" id="{3F9A5493-06EE-477A-B7C1-C7F1252F0B4C}"/>
              </a:ext>
            </a:extLst>
          </p:cNvPr>
          <p:cNvCxnSpPr>
            <a:cxnSpLocks/>
            <a:stCxn id="15" idx="3"/>
          </p:cNvCxnSpPr>
          <p:nvPr/>
        </p:nvCxnSpPr>
        <p:spPr bwMode="auto">
          <a:xfrm flipV="1">
            <a:off x="2361359" y="2041243"/>
            <a:ext cx="1085804" cy="534442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C8ECEC7F-78F4-417C-B4BC-8398F5A85508}"/>
              </a:ext>
            </a:extLst>
          </p:cNvPr>
          <p:cNvCxnSpPr>
            <a:cxnSpLocks/>
            <a:stCxn id="14" idx="0"/>
          </p:cNvCxnSpPr>
          <p:nvPr/>
        </p:nvCxnSpPr>
        <p:spPr bwMode="auto">
          <a:xfrm flipV="1">
            <a:off x="3272365" y="2037107"/>
            <a:ext cx="601099" cy="511662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8" name="Conector recto de flecha 67">
            <a:extLst>
              <a:ext uri="{FF2B5EF4-FFF2-40B4-BE49-F238E27FC236}">
                <a16:creationId xmlns:a16="http://schemas.microsoft.com/office/drawing/2014/main" id="{94EB334F-1615-4C90-B7D8-8A3B28C5F2DF}"/>
              </a:ext>
            </a:extLst>
          </p:cNvPr>
          <p:cNvCxnSpPr>
            <a:cxnSpLocks/>
            <a:stCxn id="11" idx="0"/>
          </p:cNvCxnSpPr>
          <p:nvPr/>
        </p:nvCxnSpPr>
        <p:spPr bwMode="auto">
          <a:xfrm flipH="1" flipV="1">
            <a:off x="4226235" y="2026752"/>
            <a:ext cx="135281" cy="605826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0" name="Conector recto de flecha 69">
            <a:extLst>
              <a:ext uri="{FF2B5EF4-FFF2-40B4-BE49-F238E27FC236}">
                <a16:creationId xmlns:a16="http://schemas.microsoft.com/office/drawing/2014/main" id="{ED778360-E044-4AB7-8A78-6472C273A352}"/>
              </a:ext>
            </a:extLst>
          </p:cNvPr>
          <p:cNvCxnSpPr>
            <a:cxnSpLocks/>
            <a:stCxn id="17" idx="0"/>
          </p:cNvCxnSpPr>
          <p:nvPr/>
        </p:nvCxnSpPr>
        <p:spPr bwMode="auto">
          <a:xfrm flipH="1" flipV="1">
            <a:off x="4832355" y="2074691"/>
            <a:ext cx="675233" cy="345761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2" name="Conector recto de flecha 71">
            <a:extLst>
              <a:ext uri="{FF2B5EF4-FFF2-40B4-BE49-F238E27FC236}">
                <a16:creationId xmlns:a16="http://schemas.microsoft.com/office/drawing/2014/main" id="{225A08EC-6183-4A57-BDB3-53ABD4A6DC38}"/>
              </a:ext>
            </a:extLst>
          </p:cNvPr>
          <p:cNvCxnSpPr>
            <a:cxnSpLocks/>
            <a:stCxn id="22" idx="0"/>
            <a:endCxn id="4" idx="6"/>
          </p:cNvCxnSpPr>
          <p:nvPr/>
        </p:nvCxnSpPr>
        <p:spPr bwMode="auto">
          <a:xfrm flipH="1" flipV="1">
            <a:off x="5197224" y="2019569"/>
            <a:ext cx="1387680" cy="469049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4" name="Conector recto de flecha 73">
            <a:extLst>
              <a:ext uri="{FF2B5EF4-FFF2-40B4-BE49-F238E27FC236}">
                <a16:creationId xmlns:a16="http://schemas.microsoft.com/office/drawing/2014/main" id="{E4044C5F-9A29-4B89-A11E-FA202C898F69}"/>
              </a:ext>
            </a:extLst>
          </p:cNvPr>
          <p:cNvCxnSpPr>
            <a:cxnSpLocks/>
            <a:stCxn id="12" idx="0"/>
          </p:cNvCxnSpPr>
          <p:nvPr/>
        </p:nvCxnSpPr>
        <p:spPr bwMode="auto">
          <a:xfrm flipV="1">
            <a:off x="3835666" y="2035853"/>
            <a:ext cx="344314" cy="1096340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6" name="Conector recto de flecha 75">
            <a:extLst>
              <a:ext uri="{FF2B5EF4-FFF2-40B4-BE49-F238E27FC236}">
                <a16:creationId xmlns:a16="http://schemas.microsoft.com/office/drawing/2014/main" id="{84FD5A56-F826-41BA-8F1B-AA0C69788486}"/>
              </a:ext>
            </a:extLst>
          </p:cNvPr>
          <p:cNvCxnSpPr>
            <a:cxnSpLocks/>
            <a:stCxn id="16" idx="0"/>
          </p:cNvCxnSpPr>
          <p:nvPr/>
        </p:nvCxnSpPr>
        <p:spPr bwMode="auto">
          <a:xfrm flipH="1" flipV="1">
            <a:off x="4300563" y="2067472"/>
            <a:ext cx="854923" cy="1036514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8" name="Conector recto de flecha 77">
            <a:extLst>
              <a:ext uri="{FF2B5EF4-FFF2-40B4-BE49-F238E27FC236}">
                <a16:creationId xmlns:a16="http://schemas.microsoft.com/office/drawing/2014/main" id="{35B6C410-B931-42D7-A06C-9FFCC80796DE}"/>
              </a:ext>
            </a:extLst>
          </p:cNvPr>
          <p:cNvCxnSpPr>
            <a:cxnSpLocks/>
            <a:stCxn id="10" idx="1"/>
          </p:cNvCxnSpPr>
          <p:nvPr/>
        </p:nvCxnSpPr>
        <p:spPr bwMode="auto">
          <a:xfrm flipH="1" flipV="1">
            <a:off x="4419082" y="2074692"/>
            <a:ext cx="1475545" cy="1279222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0" name="Conector recto de flecha 79">
            <a:extLst>
              <a:ext uri="{FF2B5EF4-FFF2-40B4-BE49-F238E27FC236}">
                <a16:creationId xmlns:a16="http://schemas.microsoft.com/office/drawing/2014/main" id="{16D68093-90B4-47E7-AC79-5AF39AA17FEA}"/>
              </a:ext>
            </a:extLst>
          </p:cNvPr>
          <p:cNvCxnSpPr>
            <a:cxnSpLocks/>
            <a:stCxn id="20" idx="3"/>
          </p:cNvCxnSpPr>
          <p:nvPr/>
        </p:nvCxnSpPr>
        <p:spPr bwMode="auto">
          <a:xfrm flipV="1">
            <a:off x="3068972" y="2045919"/>
            <a:ext cx="989850" cy="1221155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4" name="Conector recto de flecha 83">
            <a:extLst>
              <a:ext uri="{FF2B5EF4-FFF2-40B4-BE49-F238E27FC236}">
                <a16:creationId xmlns:a16="http://schemas.microsoft.com/office/drawing/2014/main" id="{F09E4866-9344-44B5-AC5A-D839E9E0DE45}"/>
              </a:ext>
            </a:extLst>
          </p:cNvPr>
          <p:cNvCxnSpPr>
            <a:cxnSpLocks/>
            <a:stCxn id="18" idx="0"/>
          </p:cNvCxnSpPr>
          <p:nvPr/>
        </p:nvCxnSpPr>
        <p:spPr bwMode="auto">
          <a:xfrm flipV="1">
            <a:off x="1732035" y="2045870"/>
            <a:ext cx="1939204" cy="1059973"/>
          </a:xfrm>
          <a:prstGeom prst="straightConnector1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4" name="CuadroTexto 103">
            <a:extLst>
              <a:ext uri="{FF2B5EF4-FFF2-40B4-BE49-F238E27FC236}">
                <a16:creationId xmlns:a16="http://schemas.microsoft.com/office/drawing/2014/main" id="{242FCF4B-8305-4680-8A1E-6C9B034B6004}"/>
              </a:ext>
            </a:extLst>
          </p:cNvPr>
          <p:cNvSpPr txBox="1"/>
          <p:nvPr/>
        </p:nvSpPr>
        <p:spPr>
          <a:xfrm>
            <a:off x="6818814" y="1394418"/>
            <a:ext cx="18850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3"/>
                </a:solidFill>
                <a:latin typeface="+mj-lt"/>
                <a:ea typeface="Hack" panose="020B0609030202020204" pitchFamily="49" charset="0"/>
                <a:cs typeface="Hack" panose="020B0609030202020204" pitchFamily="49" charset="0"/>
              </a:rPr>
              <a:t>CENTRALIZED MANAGEMENT PLANE</a:t>
            </a:r>
          </a:p>
        </p:txBody>
      </p:sp>
      <p:sp>
        <p:nvSpPr>
          <p:cNvPr id="105" name="CuadroTexto 104">
            <a:extLst>
              <a:ext uri="{FF2B5EF4-FFF2-40B4-BE49-F238E27FC236}">
                <a16:creationId xmlns:a16="http://schemas.microsoft.com/office/drawing/2014/main" id="{2AC3B577-050C-4722-9D52-8B2CA86106A9}"/>
              </a:ext>
            </a:extLst>
          </p:cNvPr>
          <p:cNvSpPr txBox="1"/>
          <p:nvPr/>
        </p:nvSpPr>
        <p:spPr>
          <a:xfrm>
            <a:off x="6818814" y="2634549"/>
            <a:ext cx="18850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5"/>
                </a:solidFill>
                <a:latin typeface="+mj-lt"/>
                <a:ea typeface="Hack" panose="020B0609030202020204" pitchFamily="49" charset="0"/>
                <a:cs typeface="Hack" panose="020B0609030202020204" pitchFamily="49" charset="0"/>
              </a:rPr>
              <a:t>DISTRIBUTED CONTROL PLANE</a:t>
            </a:r>
          </a:p>
        </p:txBody>
      </p:sp>
      <p:pic>
        <p:nvPicPr>
          <p:cNvPr id="106" name="Image 9">
            <a:extLst>
              <a:ext uri="{FF2B5EF4-FFF2-40B4-BE49-F238E27FC236}">
                <a16:creationId xmlns:a16="http://schemas.microsoft.com/office/drawing/2014/main" id="{4D54CE6C-1FBD-4EBB-B04D-02EFD6C02E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349286" y="4235307"/>
            <a:ext cx="1362114" cy="178483"/>
          </a:xfrm>
          <a:prstGeom prst="rect">
            <a:avLst/>
          </a:prstGeom>
        </p:spPr>
      </p:pic>
      <p:pic>
        <p:nvPicPr>
          <p:cNvPr id="112" name="Image 10">
            <a:extLst>
              <a:ext uri="{FF2B5EF4-FFF2-40B4-BE49-F238E27FC236}">
                <a16:creationId xmlns:a16="http://schemas.microsoft.com/office/drawing/2014/main" id="{5281D765-D47D-4D30-8E20-A318515F71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522294" y="3846520"/>
            <a:ext cx="1362113" cy="154692"/>
          </a:xfrm>
          <a:prstGeom prst="rect">
            <a:avLst/>
          </a:prstGeom>
        </p:spPr>
      </p:pic>
      <p:pic>
        <p:nvPicPr>
          <p:cNvPr id="113" name="Image 9">
            <a:extLst>
              <a:ext uri="{FF2B5EF4-FFF2-40B4-BE49-F238E27FC236}">
                <a16:creationId xmlns:a16="http://schemas.microsoft.com/office/drawing/2014/main" id="{BF26D3D5-DAA8-442F-8675-1FF4709476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2560987" y="3814136"/>
            <a:ext cx="1362114" cy="178483"/>
          </a:xfrm>
          <a:prstGeom prst="rect">
            <a:avLst/>
          </a:prstGeom>
        </p:spPr>
      </p:pic>
      <p:pic>
        <p:nvPicPr>
          <p:cNvPr id="114" name="Image 10">
            <a:extLst>
              <a:ext uri="{FF2B5EF4-FFF2-40B4-BE49-F238E27FC236}">
                <a16:creationId xmlns:a16="http://schemas.microsoft.com/office/drawing/2014/main" id="{AB8A2C9A-D443-4F02-A095-6E25D8D65A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3923101" y="4235307"/>
            <a:ext cx="1362113" cy="154692"/>
          </a:xfrm>
          <a:prstGeom prst="rect">
            <a:avLst/>
          </a:prstGeom>
        </p:spPr>
      </p:pic>
      <p:pic>
        <p:nvPicPr>
          <p:cNvPr id="115" name="Image 10">
            <a:extLst>
              <a:ext uri="{FF2B5EF4-FFF2-40B4-BE49-F238E27FC236}">
                <a16:creationId xmlns:a16="http://schemas.microsoft.com/office/drawing/2014/main" id="{156CCFDD-D6C6-4ADB-91A9-910FC7195DF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4928687" y="3839646"/>
            <a:ext cx="1362113" cy="154692"/>
          </a:xfrm>
          <a:prstGeom prst="rect">
            <a:avLst/>
          </a:prstGeom>
        </p:spPr>
      </p:pic>
      <p:sp>
        <p:nvSpPr>
          <p:cNvPr id="116" name="CuadroTexto 115">
            <a:extLst>
              <a:ext uri="{FF2B5EF4-FFF2-40B4-BE49-F238E27FC236}">
                <a16:creationId xmlns:a16="http://schemas.microsoft.com/office/drawing/2014/main" id="{7AF6E1A3-FA7E-43C4-8E61-F6C16AC8FB3E}"/>
              </a:ext>
            </a:extLst>
          </p:cNvPr>
          <p:cNvSpPr txBox="1"/>
          <p:nvPr/>
        </p:nvSpPr>
        <p:spPr>
          <a:xfrm>
            <a:off x="7005996" y="3792090"/>
            <a:ext cx="15106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  <a:latin typeface="+mj-lt"/>
                <a:ea typeface="Hack" panose="020B0609030202020204" pitchFamily="49" charset="0"/>
                <a:cs typeface="Hack" panose="020B0609030202020204" pitchFamily="49" charset="0"/>
              </a:rPr>
              <a:t>DISTRIBUTED DATA PLANE</a:t>
            </a:r>
          </a:p>
        </p:txBody>
      </p:sp>
      <p:cxnSp>
        <p:nvCxnSpPr>
          <p:cNvPr id="118" name="Conector recto 117">
            <a:extLst>
              <a:ext uri="{FF2B5EF4-FFF2-40B4-BE49-F238E27FC236}">
                <a16:creationId xmlns:a16="http://schemas.microsoft.com/office/drawing/2014/main" id="{1313715E-01B8-44A3-AC2B-A9B776E220EF}"/>
              </a:ext>
            </a:extLst>
          </p:cNvPr>
          <p:cNvCxnSpPr>
            <a:stCxn id="9" idx="2"/>
          </p:cNvCxnSpPr>
          <p:nvPr/>
        </p:nvCxnSpPr>
        <p:spPr bwMode="auto">
          <a:xfrm>
            <a:off x="782976" y="3422443"/>
            <a:ext cx="0" cy="48093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19" name="Conector recto 118">
            <a:extLst>
              <a:ext uri="{FF2B5EF4-FFF2-40B4-BE49-F238E27FC236}">
                <a16:creationId xmlns:a16="http://schemas.microsoft.com/office/drawing/2014/main" id="{298BA069-A553-4581-BEE3-79CE6C40C081}"/>
              </a:ext>
            </a:extLst>
          </p:cNvPr>
          <p:cNvCxnSpPr/>
          <p:nvPr/>
        </p:nvCxnSpPr>
        <p:spPr bwMode="auto">
          <a:xfrm>
            <a:off x="1663820" y="3422443"/>
            <a:ext cx="0" cy="48093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0" name="Conector recto 119">
            <a:extLst>
              <a:ext uri="{FF2B5EF4-FFF2-40B4-BE49-F238E27FC236}">
                <a16:creationId xmlns:a16="http://schemas.microsoft.com/office/drawing/2014/main" id="{4F5155B4-04D6-472B-9027-09FB409BC3FA}"/>
              </a:ext>
            </a:extLst>
          </p:cNvPr>
          <p:cNvCxnSpPr/>
          <p:nvPr/>
        </p:nvCxnSpPr>
        <p:spPr bwMode="auto">
          <a:xfrm>
            <a:off x="2797074" y="3422443"/>
            <a:ext cx="0" cy="48093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1" name="Conector recto 120">
            <a:extLst>
              <a:ext uri="{FF2B5EF4-FFF2-40B4-BE49-F238E27FC236}">
                <a16:creationId xmlns:a16="http://schemas.microsoft.com/office/drawing/2014/main" id="{F48A6303-E853-449D-BF6A-E6953F3C722B}"/>
              </a:ext>
            </a:extLst>
          </p:cNvPr>
          <p:cNvCxnSpPr/>
          <p:nvPr/>
        </p:nvCxnSpPr>
        <p:spPr bwMode="auto">
          <a:xfrm>
            <a:off x="3785669" y="3422443"/>
            <a:ext cx="0" cy="48093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2" name="Conector recto 121">
            <a:extLst>
              <a:ext uri="{FF2B5EF4-FFF2-40B4-BE49-F238E27FC236}">
                <a16:creationId xmlns:a16="http://schemas.microsoft.com/office/drawing/2014/main" id="{0CC7ACE2-0A8C-45F1-993C-CDBF277552E9}"/>
              </a:ext>
            </a:extLst>
          </p:cNvPr>
          <p:cNvCxnSpPr/>
          <p:nvPr/>
        </p:nvCxnSpPr>
        <p:spPr bwMode="auto">
          <a:xfrm>
            <a:off x="5155485" y="3422443"/>
            <a:ext cx="0" cy="48093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3" name="Conector recto 122">
            <a:extLst>
              <a:ext uri="{FF2B5EF4-FFF2-40B4-BE49-F238E27FC236}">
                <a16:creationId xmlns:a16="http://schemas.microsoft.com/office/drawing/2014/main" id="{4FF019CD-07C8-4D54-8A69-39C337537CB0}"/>
              </a:ext>
            </a:extLst>
          </p:cNvPr>
          <p:cNvCxnSpPr/>
          <p:nvPr/>
        </p:nvCxnSpPr>
        <p:spPr bwMode="auto">
          <a:xfrm>
            <a:off x="6044787" y="3422443"/>
            <a:ext cx="0" cy="48093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4" name="Conector recto 123">
            <a:extLst>
              <a:ext uri="{FF2B5EF4-FFF2-40B4-BE49-F238E27FC236}">
                <a16:creationId xmlns:a16="http://schemas.microsoft.com/office/drawing/2014/main" id="{7EFBAAA2-513C-4835-A280-034494592D28}"/>
              </a:ext>
            </a:extLst>
          </p:cNvPr>
          <p:cNvCxnSpPr>
            <a:cxnSpLocks/>
            <a:stCxn id="11" idx="2"/>
          </p:cNvCxnSpPr>
          <p:nvPr/>
        </p:nvCxnSpPr>
        <p:spPr bwMode="auto">
          <a:xfrm>
            <a:off x="4361516" y="2939340"/>
            <a:ext cx="0" cy="1333685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9" name="Conector recto 128">
            <a:extLst>
              <a:ext uri="{FF2B5EF4-FFF2-40B4-BE49-F238E27FC236}">
                <a16:creationId xmlns:a16="http://schemas.microsoft.com/office/drawing/2014/main" id="{851D2F79-478B-46E9-82BF-D3B3F0E9086C}"/>
              </a:ext>
            </a:extLst>
          </p:cNvPr>
          <p:cNvCxnSpPr>
            <a:cxnSpLocks/>
          </p:cNvCxnSpPr>
          <p:nvPr/>
        </p:nvCxnSpPr>
        <p:spPr bwMode="auto">
          <a:xfrm>
            <a:off x="5589221" y="2680822"/>
            <a:ext cx="0" cy="1222556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31" name="Conector recto 130">
            <a:extLst>
              <a:ext uri="{FF2B5EF4-FFF2-40B4-BE49-F238E27FC236}">
                <a16:creationId xmlns:a16="http://schemas.microsoft.com/office/drawing/2014/main" id="{FBEDDE81-B699-4B9E-8FB4-934D7554D66B}"/>
              </a:ext>
            </a:extLst>
          </p:cNvPr>
          <p:cNvCxnSpPr>
            <a:cxnSpLocks/>
          </p:cNvCxnSpPr>
          <p:nvPr/>
        </p:nvCxnSpPr>
        <p:spPr bwMode="auto">
          <a:xfrm>
            <a:off x="1101758" y="2632578"/>
            <a:ext cx="0" cy="1284414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33" name="Conector recto 132">
            <a:extLst>
              <a:ext uri="{FF2B5EF4-FFF2-40B4-BE49-F238E27FC236}">
                <a16:creationId xmlns:a16="http://schemas.microsoft.com/office/drawing/2014/main" id="{35D08E42-CCCB-41C8-ABAF-CDA996E3D26E}"/>
              </a:ext>
            </a:extLst>
          </p:cNvPr>
          <p:cNvCxnSpPr>
            <a:cxnSpLocks/>
          </p:cNvCxnSpPr>
          <p:nvPr/>
        </p:nvCxnSpPr>
        <p:spPr bwMode="auto">
          <a:xfrm>
            <a:off x="3242043" y="2744980"/>
            <a:ext cx="0" cy="1158398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8523020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CA19FF4-3C8E-43D7-9705-AD3A3C285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mniVista</a:t>
            </a:r>
            <a:r>
              <a:rPr lang="en-US" dirty="0"/>
              <a:t> 2500 – Single Management System 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9BE230C8-0462-411F-8A18-29E2E6C30FF5}"/>
              </a:ext>
            </a:extLst>
          </p:cNvPr>
          <p:cNvCxnSpPr/>
          <p:nvPr/>
        </p:nvCxnSpPr>
        <p:spPr bwMode="auto">
          <a:xfrm>
            <a:off x="4345757" y="1257097"/>
            <a:ext cx="0" cy="3484585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lgDash"/>
            <a:round/>
            <a:headEnd type="none" w="med" len="med"/>
            <a:tailEnd type="none"/>
          </a:ln>
          <a:effectLst/>
        </p:spPr>
      </p:cxnSp>
      <p:sp>
        <p:nvSpPr>
          <p:cNvPr id="25" name="Flecha: a la izquierda y derecha 24">
            <a:extLst>
              <a:ext uri="{FF2B5EF4-FFF2-40B4-BE49-F238E27FC236}">
                <a16:creationId xmlns:a16="http://schemas.microsoft.com/office/drawing/2014/main" id="{AEEA6D1E-E984-4DF2-9CA8-566502323293}"/>
              </a:ext>
            </a:extLst>
          </p:cNvPr>
          <p:cNvSpPr/>
          <p:nvPr/>
        </p:nvSpPr>
        <p:spPr>
          <a:xfrm rot="21007950">
            <a:off x="3211701" y="2599174"/>
            <a:ext cx="2069631" cy="320019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pic>
        <p:nvPicPr>
          <p:cNvPr id="26" name="Image 46">
            <a:extLst>
              <a:ext uri="{FF2B5EF4-FFF2-40B4-BE49-F238E27FC236}">
                <a16:creationId xmlns:a16="http://schemas.microsoft.com/office/drawing/2014/main" id="{9D720AAD-B2E0-4C0F-B83F-508D8B340C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78373" y="2481446"/>
            <a:ext cx="1885044" cy="1056531"/>
          </a:xfrm>
          <a:custGeom>
            <a:avLst/>
            <a:gdLst>
              <a:gd name="connsiteX0" fmla="*/ 982580 w 6010509"/>
              <a:gd name="connsiteY0" fmla="*/ 225533 h 3403353"/>
              <a:gd name="connsiteX1" fmla="*/ 982580 w 6010509"/>
              <a:gd name="connsiteY1" fmla="*/ 2839341 h 3403353"/>
              <a:gd name="connsiteX2" fmla="*/ 5066488 w 6010509"/>
              <a:gd name="connsiteY2" fmla="*/ 2839341 h 3403353"/>
              <a:gd name="connsiteX3" fmla="*/ 5066488 w 6010509"/>
              <a:gd name="connsiteY3" fmla="*/ 225533 h 3403353"/>
              <a:gd name="connsiteX4" fmla="*/ 0 w 6010509"/>
              <a:gd name="connsiteY4" fmla="*/ 0 h 3403353"/>
              <a:gd name="connsiteX5" fmla="*/ 6010509 w 6010509"/>
              <a:gd name="connsiteY5" fmla="*/ 0 h 3403353"/>
              <a:gd name="connsiteX6" fmla="*/ 6010509 w 6010509"/>
              <a:gd name="connsiteY6" fmla="*/ 3403353 h 3403353"/>
              <a:gd name="connsiteX7" fmla="*/ 0 w 6010509"/>
              <a:gd name="connsiteY7" fmla="*/ 3403353 h 3403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10509" h="3403353">
                <a:moveTo>
                  <a:pt x="982580" y="225533"/>
                </a:moveTo>
                <a:lnTo>
                  <a:pt x="982580" y="2839341"/>
                </a:lnTo>
                <a:lnTo>
                  <a:pt x="5066488" y="2839341"/>
                </a:lnTo>
                <a:lnTo>
                  <a:pt x="5066488" y="225533"/>
                </a:lnTo>
                <a:close/>
                <a:moveTo>
                  <a:pt x="0" y="0"/>
                </a:moveTo>
                <a:lnTo>
                  <a:pt x="6010509" y="0"/>
                </a:lnTo>
                <a:lnTo>
                  <a:pt x="6010509" y="3403353"/>
                </a:lnTo>
                <a:lnTo>
                  <a:pt x="0" y="3403353"/>
                </a:lnTo>
                <a:close/>
              </a:path>
            </a:pathLst>
          </a:custGeom>
        </p:spPr>
      </p:pic>
      <p:pic>
        <p:nvPicPr>
          <p:cNvPr id="28" name="Image 46">
            <a:extLst>
              <a:ext uri="{FF2B5EF4-FFF2-40B4-BE49-F238E27FC236}">
                <a16:creationId xmlns:a16="http://schemas.microsoft.com/office/drawing/2014/main" id="{1E3AA86C-35A7-427E-AED6-446B817382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78373" y="3775109"/>
            <a:ext cx="1885044" cy="1056531"/>
          </a:xfrm>
          <a:custGeom>
            <a:avLst/>
            <a:gdLst>
              <a:gd name="connsiteX0" fmla="*/ 982580 w 6010509"/>
              <a:gd name="connsiteY0" fmla="*/ 225533 h 3403353"/>
              <a:gd name="connsiteX1" fmla="*/ 982580 w 6010509"/>
              <a:gd name="connsiteY1" fmla="*/ 2839341 h 3403353"/>
              <a:gd name="connsiteX2" fmla="*/ 5066488 w 6010509"/>
              <a:gd name="connsiteY2" fmla="*/ 2839341 h 3403353"/>
              <a:gd name="connsiteX3" fmla="*/ 5066488 w 6010509"/>
              <a:gd name="connsiteY3" fmla="*/ 225533 h 3403353"/>
              <a:gd name="connsiteX4" fmla="*/ 0 w 6010509"/>
              <a:gd name="connsiteY4" fmla="*/ 0 h 3403353"/>
              <a:gd name="connsiteX5" fmla="*/ 6010509 w 6010509"/>
              <a:gd name="connsiteY5" fmla="*/ 0 h 3403353"/>
              <a:gd name="connsiteX6" fmla="*/ 6010509 w 6010509"/>
              <a:gd name="connsiteY6" fmla="*/ 3403353 h 3403353"/>
              <a:gd name="connsiteX7" fmla="*/ 0 w 6010509"/>
              <a:gd name="connsiteY7" fmla="*/ 3403353 h 3403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10509" h="3403353">
                <a:moveTo>
                  <a:pt x="982580" y="225533"/>
                </a:moveTo>
                <a:lnTo>
                  <a:pt x="982580" y="2839341"/>
                </a:lnTo>
                <a:lnTo>
                  <a:pt x="5066488" y="2839341"/>
                </a:lnTo>
                <a:lnTo>
                  <a:pt x="5066488" y="225533"/>
                </a:lnTo>
                <a:close/>
                <a:moveTo>
                  <a:pt x="0" y="0"/>
                </a:moveTo>
                <a:lnTo>
                  <a:pt x="6010509" y="0"/>
                </a:lnTo>
                <a:lnTo>
                  <a:pt x="6010509" y="3403353"/>
                </a:lnTo>
                <a:lnTo>
                  <a:pt x="0" y="3403353"/>
                </a:lnTo>
                <a:close/>
              </a:path>
            </a:pathLst>
          </a:custGeom>
        </p:spPr>
      </p:pic>
      <p:sp>
        <p:nvSpPr>
          <p:cNvPr id="30" name="Flecha: a la izquierda y derecha 29">
            <a:extLst>
              <a:ext uri="{FF2B5EF4-FFF2-40B4-BE49-F238E27FC236}">
                <a16:creationId xmlns:a16="http://schemas.microsoft.com/office/drawing/2014/main" id="{CBC9A317-21AC-48B7-BBFB-7D9A92BAAC68}"/>
              </a:ext>
            </a:extLst>
          </p:cNvPr>
          <p:cNvSpPr/>
          <p:nvPr/>
        </p:nvSpPr>
        <p:spPr>
          <a:xfrm rot="19300664">
            <a:off x="3054397" y="3404027"/>
            <a:ext cx="2453272" cy="320019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B19C4301-D57A-4605-87D6-AEE4D60FD066}"/>
              </a:ext>
            </a:extLst>
          </p:cNvPr>
          <p:cNvSpPr txBox="1"/>
          <p:nvPr/>
        </p:nvSpPr>
        <p:spPr>
          <a:xfrm>
            <a:off x="895101" y="2824373"/>
            <a:ext cx="8389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rPr>
              <a:t>OV3600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574A6947-A915-4495-B0C3-555A47C99D54}"/>
              </a:ext>
            </a:extLst>
          </p:cNvPr>
          <p:cNvSpPr txBox="1"/>
          <p:nvPr/>
        </p:nvSpPr>
        <p:spPr>
          <a:xfrm>
            <a:off x="1114128" y="4118037"/>
            <a:ext cx="6199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rPr>
              <a:t>CPPM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C5254E7-D41F-43FF-918B-2C3A2B6A0866}"/>
              </a:ext>
            </a:extLst>
          </p:cNvPr>
          <p:cNvSpPr txBox="1"/>
          <p:nvPr/>
        </p:nvSpPr>
        <p:spPr>
          <a:xfrm>
            <a:off x="6991101" y="2081640"/>
            <a:ext cx="15935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rPr>
              <a:t>OV2500 (WLAN)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155D4191-9B26-4E22-85BA-662215D6B2A0}"/>
              </a:ext>
            </a:extLst>
          </p:cNvPr>
          <p:cNvSpPr txBox="1"/>
          <p:nvPr/>
        </p:nvSpPr>
        <p:spPr>
          <a:xfrm>
            <a:off x="6991101" y="2370110"/>
            <a:ext cx="15935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rPr>
              <a:t>OV2500 (UPAM)</a:t>
            </a:r>
          </a:p>
        </p:txBody>
      </p:sp>
      <p:pic>
        <p:nvPicPr>
          <p:cNvPr id="37" name="Imagen 36">
            <a:extLst>
              <a:ext uri="{FF2B5EF4-FFF2-40B4-BE49-F238E27FC236}">
                <a16:creationId xmlns:a16="http://schemas.microsoft.com/office/drawing/2014/main" id="{DD1691D2-9056-484D-9211-7F68518708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" t="438" r="150" b="1968"/>
          <a:stretch/>
        </p:blipFill>
        <p:spPr>
          <a:xfrm>
            <a:off x="1783556" y="2548966"/>
            <a:ext cx="1281113" cy="815194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id="{522636D6-7F7D-4581-8392-415D4C03EF1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6" t="4443" r="4027" b="32963"/>
          <a:stretch/>
        </p:blipFill>
        <p:spPr>
          <a:xfrm>
            <a:off x="1783557" y="3848024"/>
            <a:ext cx="1281112" cy="807319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477945E7-1995-4558-8890-83A90A9BE5D9}"/>
              </a:ext>
            </a:extLst>
          </p:cNvPr>
          <p:cNvGrpSpPr/>
          <p:nvPr/>
        </p:nvGrpSpPr>
        <p:grpSpPr>
          <a:xfrm>
            <a:off x="5283591" y="1877060"/>
            <a:ext cx="1885044" cy="1056531"/>
            <a:chOff x="5283591" y="2565336"/>
            <a:chExt cx="1885044" cy="1056531"/>
          </a:xfrm>
        </p:grpSpPr>
        <p:pic>
          <p:nvPicPr>
            <p:cNvPr id="31" name="Image 46">
              <a:extLst>
                <a:ext uri="{FF2B5EF4-FFF2-40B4-BE49-F238E27FC236}">
                  <a16:creationId xmlns:a16="http://schemas.microsoft.com/office/drawing/2014/main" id="{47626105-5CF8-49C0-9D48-B62AE89C95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5283591" y="2565336"/>
              <a:ext cx="1885044" cy="1056531"/>
            </a:xfrm>
            <a:custGeom>
              <a:avLst/>
              <a:gdLst>
                <a:gd name="connsiteX0" fmla="*/ 982580 w 6010509"/>
                <a:gd name="connsiteY0" fmla="*/ 225533 h 3403353"/>
                <a:gd name="connsiteX1" fmla="*/ 982580 w 6010509"/>
                <a:gd name="connsiteY1" fmla="*/ 2839341 h 3403353"/>
                <a:gd name="connsiteX2" fmla="*/ 5066488 w 6010509"/>
                <a:gd name="connsiteY2" fmla="*/ 2839341 h 3403353"/>
                <a:gd name="connsiteX3" fmla="*/ 5066488 w 6010509"/>
                <a:gd name="connsiteY3" fmla="*/ 225533 h 3403353"/>
                <a:gd name="connsiteX4" fmla="*/ 0 w 6010509"/>
                <a:gd name="connsiteY4" fmla="*/ 0 h 3403353"/>
                <a:gd name="connsiteX5" fmla="*/ 6010509 w 6010509"/>
                <a:gd name="connsiteY5" fmla="*/ 0 h 3403353"/>
                <a:gd name="connsiteX6" fmla="*/ 6010509 w 6010509"/>
                <a:gd name="connsiteY6" fmla="*/ 3403353 h 3403353"/>
                <a:gd name="connsiteX7" fmla="*/ 0 w 6010509"/>
                <a:gd name="connsiteY7" fmla="*/ 3403353 h 340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10509" h="3403353">
                  <a:moveTo>
                    <a:pt x="982580" y="225533"/>
                  </a:moveTo>
                  <a:lnTo>
                    <a:pt x="982580" y="2839341"/>
                  </a:lnTo>
                  <a:lnTo>
                    <a:pt x="5066488" y="2839341"/>
                  </a:lnTo>
                  <a:lnTo>
                    <a:pt x="5066488" y="225533"/>
                  </a:lnTo>
                  <a:close/>
                  <a:moveTo>
                    <a:pt x="0" y="0"/>
                  </a:moveTo>
                  <a:lnTo>
                    <a:pt x="6010509" y="0"/>
                  </a:lnTo>
                  <a:lnTo>
                    <a:pt x="6010509" y="3403353"/>
                  </a:lnTo>
                  <a:lnTo>
                    <a:pt x="0" y="3403353"/>
                  </a:lnTo>
                  <a:close/>
                </a:path>
              </a:pathLst>
            </a:custGeom>
          </p:spPr>
        </p:pic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6A3839B6-6EE6-443B-9512-939D232228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20395"/>
            <a:stretch/>
          </p:blipFill>
          <p:spPr>
            <a:xfrm>
              <a:off x="5581650" y="2620637"/>
              <a:ext cx="1294067" cy="824108"/>
            </a:xfrm>
            <a:prstGeom prst="rect">
              <a:avLst/>
            </a:prstGeom>
          </p:spPr>
        </p:pic>
      </p:grpSp>
      <p:pic>
        <p:nvPicPr>
          <p:cNvPr id="39" name="Image 25">
            <a:extLst>
              <a:ext uri="{FF2B5EF4-FFF2-40B4-BE49-F238E27FC236}">
                <a16:creationId xmlns:a16="http://schemas.microsoft.com/office/drawing/2014/main" id="{5B13BB19-881B-47FF-9B56-6562112D710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2366681" y="1257097"/>
            <a:ext cx="907836" cy="450352"/>
          </a:xfrm>
          <a:prstGeom prst="rect">
            <a:avLst/>
          </a:prstGeom>
        </p:spPr>
      </p:pic>
      <p:pic>
        <p:nvPicPr>
          <p:cNvPr id="40" name="Image 10">
            <a:extLst>
              <a:ext uri="{FF2B5EF4-FFF2-40B4-BE49-F238E27FC236}">
                <a16:creationId xmlns:a16="http://schemas.microsoft.com/office/drawing/2014/main" id="{743C62EC-CEC0-47AD-BBD4-BFA4FE7443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1481220" y="2007504"/>
            <a:ext cx="1790879" cy="203386"/>
          </a:xfrm>
          <a:prstGeom prst="rect">
            <a:avLst/>
          </a:prstGeom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id="{66DA2ECE-75FE-4A98-8A00-4CD640CE091B}"/>
              </a:ext>
            </a:extLst>
          </p:cNvPr>
          <p:cNvSpPr txBox="1"/>
          <p:nvPr/>
        </p:nvSpPr>
        <p:spPr>
          <a:xfrm>
            <a:off x="930724" y="1955308"/>
            <a:ext cx="5068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defRPr>
            </a:lvl1pPr>
          </a:lstStyle>
          <a:p>
            <a:r>
              <a:rPr lang="en-US" dirty="0"/>
              <a:t>LAN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282A3317-7630-42EB-8C74-82505E4B176F}"/>
              </a:ext>
            </a:extLst>
          </p:cNvPr>
          <p:cNvSpPr txBox="1"/>
          <p:nvPr/>
        </p:nvSpPr>
        <p:spPr>
          <a:xfrm>
            <a:off x="1653809" y="1312087"/>
            <a:ext cx="729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latin typeface="Hack" panose="020B0609030202020204" pitchFamily="49" charset="0"/>
                <a:ea typeface="Hack" panose="020B0609030202020204" pitchFamily="49" charset="0"/>
                <a:cs typeface="Hack" panose="020B0609030202020204" pitchFamily="49" charset="0"/>
              </a:defRPr>
            </a:lvl1pPr>
          </a:lstStyle>
          <a:p>
            <a:r>
              <a:rPr lang="en-US" dirty="0"/>
              <a:t>WLAN</a:t>
            </a:r>
          </a:p>
        </p:txBody>
      </p:sp>
      <p:sp>
        <p:nvSpPr>
          <p:cNvPr id="43" name="Flecha: a la izquierda y derecha 42">
            <a:extLst>
              <a:ext uri="{FF2B5EF4-FFF2-40B4-BE49-F238E27FC236}">
                <a16:creationId xmlns:a16="http://schemas.microsoft.com/office/drawing/2014/main" id="{470D2A6A-89BE-4921-A800-A89AEC8A8378}"/>
              </a:ext>
            </a:extLst>
          </p:cNvPr>
          <p:cNvSpPr/>
          <p:nvPr/>
        </p:nvSpPr>
        <p:spPr>
          <a:xfrm rot="276194">
            <a:off x="3369123" y="2019257"/>
            <a:ext cx="1902290" cy="320019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  <p:sp>
        <p:nvSpPr>
          <p:cNvPr id="44" name="Flecha: a la izquierda y derecha 43">
            <a:extLst>
              <a:ext uri="{FF2B5EF4-FFF2-40B4-BE49-F238E27FC236}">
                <a16:creationId xmlns:a16="http://schemas.microsoft.com/office/drawing/2014/main" id="{2DA09393-FE87-426D-BBE8-9C1B71514AE8}"/>
              </a:ext>
            </a:extLst>
          </p:cNvPr>
          <p:cNvSpPr/>
          <p:nvPr/>
        </p:nvSpPr>
        <p:spPr>
          <a:xfrm rot="961653">
            <a:off x="3380701" y="1577507"/>
            <a:ext cx="1902290" cy="320019"/>
          </a:xfrm>
          <a:prstGeom prst="leftRightArrow">
            <a:avLst/>
          </a:prstGeom>
          <a:solidFill>
            <a:schemeClr val="accent3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US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84706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7&quot;/&gt;&lt;lineCharCount val=&quot;10&quot;/&gt;&lt;lineCharCount val=&quot;8&quot;/&gt;&lt;lineCharCount val=&quot;11&quot;/&gt;&lt;lineCharCount val=&quot;8&quot;/&gt;&lt;lineCharCount val=&quot;15&quot;/&gt;&lt;lineCharCount val=&quot;13&quot;/&gt;&lt;lineCharCount val=&quot;7&quot;/&gt;&lt;/TableIndex&gt;&lt;/ShapeTextInfo&gt;"/>
</p:tagLst>
</file>

<file path=ppt/theme/theme1.xml><?xml version="1.0" encoding="utf-8"?>
<a:theme xmlns:a="http://schemas.openxmlformats.org/drawingml/2006/main" name="ALE_16x9_OPEN_2015">
  <a:themeElements>
    <a:clrScheme name="ALE Custom Colors Nov 2015">
      <a:dk1>
        <a:srgbClr val="000000"/>
      </a:dk1>
      <a:lt1>
        <a:srgbClr val="FFFFFF"/>
      </a:lt1>
      <a:dk2>
        <a:srgbClr val="7F7F7F"/>
      </a:dk2>
      <a:lt2>
        <a:srgbClr val="CF0072"/>
      </a:lt2>
      <a:accent1>
        <a:srgbClr val="00B9E1"/>
      </a:accent1>
      <a:accent2>
        <a:srgbClr val="C2C2C2"/>
      </a:accent2>
      <a:accent3>
        <a:srgbClr val="34B233"/>
      </a:accent3>
      <a:accent4>
        <a:srgbClr val="6639B7"/>
      </a:accent4>
      <a:accent5>
        <a:srgbClr val="FF4500"/>
      </a:accent5>
      <a:accent6>
        <a:srgbClr val="921B9B"/>
      </a:accent6>
      <a:hlink>
        <a:srgbClr val="0085CA"/>
      </a:hlink>
      <a:folHlink>
        <a:srgbClr val="00B2AA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0"/>
          </a:spcBef>
          <a:defRPr>
            <a:latin typeface="Trebuchet MS"/>
            <a:cs typeface="Trebuchet MS"/>
          </a:defRPr>
        </a:defPPr>
      </a:lstStyle>
    </a:spDef>
    <a:lnDef>
      <a:spPr bwMode="auto"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dirty="0" smtClea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4B233"/>
        </a:dk2>
        <a:lt2>
          <a:srgbClr val="CF0072"/>
        </a:lt2>
        <a:accent1>
          <a:srgbClr val="34B4E4"/>
        </a:accent1>
        <a:accent2>
          <a:srgbClr val="AA9C8F"/>
        </a:accent2>
        <a:accent3>
          <a:srgbClr val="FFFFFF"/>
        </a:accent3>
        <a:accent4>
          <a:srgbClr val="000000"/>
        </a:accent4>
        <a:accent5>
          <a:srgbClr val="AED6EF"/>
        </a:accent5>
        <a:accent6>
          <a:srgbClr val="9A8D81"/>
        </a:accent6>
        <a:hlink>
          <a:srgbClr val="00549F"/>
        </a:hlink>
        <a:folHlink>
          <a:srgbClr val="FFC82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Trebuchet M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rebuchet MS"/>
        <a:font script="Hebr" typeface="Trebuchet MS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rebuchet MS"/>
        <a:font script="Uigh" typeface="Microsoft Uighur"/>
      </a:majorFont>
      <a:minorFont>
        <a:latin typeface="Trebuchet M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rebuchet MS"/>
        <a:font script="Hebr" typeface="Trebuchet M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rebuchet MS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Trebuchet M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rebuchet MS"/>
        <a:font script="Hebr" typeface="Trebuchet MS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rebuchet MS"/>
        <a:font script="Uigh" typeface="Microsoft Uighur"/>
      </a:majorFont>
      <a:minorFont>
        <a:latin typeface="Trebuchet M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rebuchet MS"/>
        <a:font script="Hebr" typeface="Trebuchet M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rebuchet MS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LE Custom Colors Nov 2015">
    <a:dk1>
      <a:srgbClr val="000000"/>
    </a:dk1>
    <a:lt1>
      <a:srgbClr val="FFFFFF"/>
    </a:lt1>
    <a:dk2>
      <a:srgbClr val="7F7F7F"/>
    </a:dk2>
    <a:lt2>
      <a:srgbClr val="CF0072"/>
    </a:lt2>
    <a:accent1>
      <a:srgbClr val="00B9E1"/>
    </a:accent1>
    <a:accent2>
      <a:srgbClr val="C2C2C2"/>
    </a:accent2>
    <a:accent3>
      <a:srgbClr val="34B233"/>
    </a:accent3>
    <a:accent4>
      <a:srgbClr val="6639B7"/>
    </a:accent4>
    <a:accent5>
      <a:srgbClr val="FF4500"/>
    </a:accent5>
    <a:accent6>
      <a:srgbClr val="921B9B"/>
    </a:accent6>
    <a:hlink>
      <a:srgbClr val="0085CA"/>
    </a:hlink>
    <a:folHlink>
      <a:srgbClr val="00B2A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</TotalTime>
  <Words>584</Words>
  <Application>Microsoft Office PowerPoint</Application>
  <PresentationFormat>Presentación en pantalla (16:9)</PresentationFormat>
  <Paragraphs>159</Paragraphs>
  <Slides>14</Slides>
  <Notes>3</Notes>
  <HiddenSlides>0</HiddenSlides>
  <MMClips>0</MMClips>
  <ScaleCrop>false</ScaleCrop>
  <HeadingPairs>
    <vt:vector size="6" baseType="variant">
      <vt:variant>
        <vt:lpstr>Fue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8" baseType="lpstr">
      <vt:lpstr>Microsoft YaHei</vt:lpstr>
      <vt:lpstr>ＭＳ Ｐゴシック</vt:lpstr>
      <vt:lpstr>ＭＳ Ｐゴシック</vt:lpstr>
      <vt:lpstr>宋体</vt:lpstr>
      <vt:lpstr>Arial</vt:lpstr>
      <vt:lpstr>BrowalliaUPC</vt:lpstr>
      <vt:lpstr>Hack</vt:lpstr>
      <vt:lpstr>News Gothic MT</vt:lpstr>
      <vt:lpstr>Open Sans</vt:lpstr>
      <vt:lpstr>Tahoma</vt:lpstr>
      <vt:lpstr>Trebuchet MS</vt:lpstr>
      <vt:lpstr>Wingdings</vt:lpstr>
      <vt:lpstr>Wingdings 3</vt:lpstr>
      <vt:lpstr>ALE_16x9_OPEN_2015</vt:lpstr>
      <vt:lpstr>OmniAccess WLAN Stellar WLAN con Control Distribuido</vt:lpstr>
      <vt:lpstr>WW – Enterprise NW market IT Investment Areas Driving Network Innovation </vt:lpstr>
      <vt:lpstr>WW – Enterprise NW WLAN market - units</vt:lpstr>
      <vt:lpstr>2.5/5G Ethernet Adoption</vt:lpstr>
      <vt:lpstr>WW – IoT market - Which connectivity protocol do you use or plan to use? (per organization size) </vt:lpstr>
      <vt:lpstr>802.11 an endless evolution</vt:lpstr>
      <vt:lpstr>Changing the paradigm to avoid the meltdown </vt:lpstr>
      <vt:lpstr>OmniAccess WLAN Stellar</vt:lpstr>
      <vt:lpstr>OmniVista 2500 – Single Management System </vt:lpstr>
      <vt:lpstr>WiFi Enterprise – Central managed deployment</vt:lpstr>
      <vt:lpstr>OmniAccess® Stellar Access Points Lineup</vt:lpstr>
      <vt:lpstr>UPAM – Unified Policy Authentication Manager</vt:lpstr>
      <vt:lpstr>UPAM and External Source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ackie Morris</dc:creator>
  <cp:lastModifiedBy>Jorge ARASANZ</cp:lastModifiedBy>
  <cp:revision>832</cp:revision>
  <dcterms:created xsi:type="dcterms:W3CDTF">2011-08-29T20:41:33Z</dcterms:created>
  <dcterms:modified xsi:type="dcterms:W3CDTF">2017-11-30T09:56:41Z</dcterms:modified>
</cp:coreProperties>
</file>